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7.xml" ContentType="application/vnd.openxmlformats-officedocument.presentationml.tags+xml"/>
  <Override PartName="/ppt/notesSlides/notesSlide1.xml" ContentType="application/vnd.openxmlformats-officedocument.presentationml.notesSlide+xml"/>
  <Override PartName="/ppt/media/image56.bin" ContentType="image/jpeg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8"/>
    <p:sldMasterId id="2147483765" r:id="rId9"/>
  </p:sldMasterIdLst>
  <p:notesMasterIdLst>
    <p:notesMasterId r:id="rId31"/>
  </p:notesMasterIdLst>
  <p:handoutMasterIdLst>
    <p:handoutMasterId r:id="rId32"/>
  </p:handoutMasterIdLst>
  <p:sldIdLst>
    <p:sldId id="2147479193" r:id="rId10"/>
    <p:sldId id="2147479842" r:id="rId11"/>
    <p:sldId id="2147479840" r:id="rId12"/>
    <p:sldId id="2147479844" r:id="rId13"/>
    <p:sldId id="368" r:id="rId14"/>
    <p:sldId id="370" r:id="rId15"/>
    <p:sldId id="364" r:id="rId16"/>
    <p:sldId id="378" r:id="rId17"/>
    <p:sldId id="381" r:id="rId18"/>
    <p:sldId id="385" r:id="rId19"/>
    <p:sldId id="2147479845" r:id="rId20"/>
    <p:sldId id="2147479846" r:id="rId21"/>
    <p:sldId id="2147479826" r:id="rId22"/>
    <p:sldId id="2147479825" r:id="rId23"/>
    <p:sldId id="2147479831" r:id="rId24"/>
    <p:sldId id="2147479830" r:id="rId25"/>
    <p:sldId id="1448943273" r:id="rId26"/>
    <p:sldId id="2147479828" r:id="rId27"/>
    <p:sldId id="2147479849" r:id="rId28"/>
    <p:sldId id="2147479834" r:id="rId29"/>
    <p:sldId id="2147479797" r:id="rId30"/>
  </p:sldIdLst>
  <p:sldSz cx="12192000" cy="6858000"/>
  <p:notesSz cx="6858000" cy="9144000"/>
  <p:embeddedFontLst>
    <p:embeddedFont>
      <p:font typeface="Ericsson Hilda" panose="00000500000000000000" pitchFamily="2" charset="0"/>
      <p:regular r:id="rId33"/>
      <p:bold r:id="rId34"/>
      <p:italic r:id="rId35"/>
      <p:boldItalic r:id="rId36"/>
    </p:embeddedFont>
    <p:embeddedFont>
      <p:font typeface="Ericsson Hilda ExtraBold" panose="00000900000000000000" pitchFamily="2" charset="0"/>
      <p:bold r:id="rId37"/>
    </p:embeddedFont>
    <p:embeddedFont>
      <p:font typeface="Ericsson Hilda ExtraLight" panose="00000300000000000000" pitchFamily="2" charset="0"/>
      <p:regular r:id="rId38"/>
    </p:embeddedFont>
    <p:embeddedFont>
      <p:font typeface="Ericsson Hilda Light" panose="00000400000000000000" pitchFamily="2" charset="0"/>
      <p:regular r:id="rId39"/>
      <p:italic r:id="rId40"/>
    </p:embeddedFont>
    <p:embeddedFont>
      <p:font typeface="Ericsson Technical Icons" panose="020B0604020202020204" charset="0"/>
      <p:regular r:id="rId41"/>
      <p:bold r:id="rId42"/>
      <p:italic r:id="rId43"/>
      <p:boldItalic r:id="rId44"/>
    </p:embeddedFont>
    <p:embeddedFont>
      <p:font typeface="EucrosiaUPC" panose="02020603050405020304" pitchFamily="18" charset="-34"/>
      <p:regular r:id="rId45"/>
      <p:bold r:id="rId46"/>
      <p:italic r:id="rId47"/>
      <p:boldItalic r:id="rId48"/>
    </p:embeddedFont>
    <p:embeddedFont>
      <p:font typeface="Lato Light" panose="020F0502020204030203" pitchFamily="34" charset="0"/>
      <p:regular r:id="rId49"/>
      <p:italic r:id="rId50"/>
    </p:embeddedFont>
  </p:embeddedFontLst>
  <p:defaultTextStyle>
    <a:defPPr>
      <a:defRPr lang="en-US"/>
    </a:defPPr>
  </p:defaultTextStyle>
  <p:extLst>
    <p:ext uri="{521415D9-36F7-43E2-AB2F-B90AF26B5E84}">
      <p14:sectionLst xmlns:p14="http://schemas.microsoft.com/office/powerpoint/2010/main">
        <p14:section name="Default Section" id="{976FE3CF-929B-4CC2-BA5D-176FA5CFCE2A}">
          <p14:sldIdLst>
            <p14:sldId id="2147479193"/>
            <p14:sldId id="2147479842"/>
            <p14:sldId id="2147479840"/>
            <p14:sldId id="2147479844"/>
            <p14:sldId id="368"/>
            <p14:sldId id="370"/>
            <p14:sldId id="364"/>
            <p14:sldId id="378"/>
            <p14:sldId id="381"/>
            <p14:sldId id="385"/>
            <p14:sldId id="2147479845"/>
            <p14:sldId id="2147479846"/>
            <p14:sldId id="2147479826"/>
            <p14:sldId id="2147479825"/>
            <p14:sldId id="2147479831"/>
            <p14:sldId id="2147479830"/>
            <p14:sldId id="1448943273"/>
            <p14:sldId id="2147479828"/>
            <p14:sldId id="2147479849"/>
            <p14:sldId id="2147479834"/>
            <p14:sldId id="214747979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91F1958-6B46-14A4-DE08-E65DBFA41CC9}" name="Raul Martin R" initials="RMR" userId="S::raul.r.martin@ericsson.com::a2bbbdf7-c53a-4cbd-a9ca-e03ef66e856b" providerId="AD"/>
  <p188:author id="{AD810EC5-E887-B811-D572-403A60F0223A}" name="Oscar Llorente Gonzalez" initials="OLG" userId="S::oscar.llorente.gonzalez@ericsson.com::e1d48c7f-7de1-49f5-ba88-07a54202ac7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C80"/>
    <a:srgbClr val="DAE8FC"/>
    <a:srgbClr val="F8CECC"/>
    <a:srgbClr val="FF5656"/>
    <a:srgbClr val="33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4CDE1D9-6D60-4CFA-88D3-DE837369D236}" v="47" dt="2025-09-18T09:54:34.051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00" autoAdjust="0"/>
    <p:restoredTop sz="94660"/>
  </p:normalViewPr>
  <p:slideViewPr>
    <p:cSldViewPr snapToGrid="0">
      <p:cViewPr varScale="1">
        <p:scale>
          <a:sx n="152" d="100"/>
          <a:sy n="152" d="100"/>
        </p:scale>
        <p:origin x="736" y="1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24" d="100"/>
          <a:sy n="124" d="100"/>
        </p:scale>
        <p:origin x="4960" y="8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font" Target="fonts/font7.fntdata"/><Relationship Id="rId21" Type="http://schemas.openxmlformats.org/officeDocument/2006/relationships/slide" Target="slides/slide12.xml"/><Relationship Id="rId34" Type="http://schemas.openxmlformats.org/officeDocument/2006/relationships/font" Target="fonts/font2.fntdata"/><Relationship Id="rId42" Type="http://schemas.openxmlformats.org/officeDocument/2006/relationships/font" Target="fonts/font10.fntdata"/><Relationship Id="rId47" Type="http://schemas.openxmlformats.org/officeDocument/2006/relationships/font" Target="fonts/font15.fntdata"/><Relationship Id="rId50" Type="http://schemas.openxmlformats.org/officeDocument/2006/relationships/font" Target="fonts/font18.fntdata"/><Relationship Id="rId55" Type="http://schemas.microsoft.com/office/2016/11/relationships/changesInfo" Target="changesInfos/changesInfo1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handoutMaster" Target="handoutMasters/handoutMaster1.xml"/><Relationship Id="rId37" Type="http://schemas.openxmlformats.org/officeDocument/2006/relationships/font" Target="fonts/font5.fntdata"/><Relationship Id="rId40" Type="http://schemas.openxmlformats.org/officeDocument/2006/relationships/font" Target="fonts/font8.fntdata"/><Relationship Id="rId45" Type="http://schemas.openxmlformats.org/officeDocument/2006/relationships/font" Target="fonts/font13.fntdata"/><Relationship Id="rId53" Type="http://schemas.openxmlformats.org/officeDocument/2006/relationships/theme" Target="theme/theme1.xml"/><Relationship Id="rId5" Type="http://schemas.openxmlformats.org/officeDocument/2006/relationships/customXml" Target="../customXml/item5.xml"/><Relationship Id="rId19" Type="http://schemas.openxmlformats.org/officeDocument/2006/relationships/slide" Target="slides/slide10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2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font" Target="fonts/font3.fntdata"/><Relationship Id="rId43" Type="http://schemas.openxmlformats.org/officeDocument/2006/relationships/font" Target="fonts/font11.fntdata"/><Relationship Id="rId48" Type="http://schemas.openxmlformats.org/officeDocument/2006/relationships/font" Target="fonts/font16.fntdata"/><Relationship Id="rId56" Type="http://schemas.microsoft.com/office/2015/10/relationships/revisionInfo" Target="revisionInfo.xml"/><Relationship Id="rId8" Type="http://schemas.openxmlformats.org/officeDocument/2006/relationships/slideMaster" Target="slideMasters/slideMaster1.xml"/><Relationship Id="rId51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font" Target="fonts/font1.fntdata"/><Relationship Id="rId38" Type="http://schemas.openxmlformats.org/officeDocument/2006/relationships/font" Target="fonts/font6.fntdata"/><Relationship Id="rId46" Type="http://schemas.openxmlformats.org/officeDocument/2006/relationships/font" Target="fonts/font14.fntdata"/><Relationship Id="rId20" Type="http://schemas.openxmlformats.org/officeDocument/2006/relationships/slide" Target="slides/slide11.xml"/><Relationship Id="rId41" Type="http://schemas.openxmlformats.org/officeDocument/2006/relationships/font" Target="fonts/font9.fntdata"/><Relationship Id="rId54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font" Target="fonts/font4.fntdata"/><Relationship Id="rId49" Type="http://schemas.openxmlformats.org/officeDocument/2006/relationships/font" Target="fonts/font17.fntdata"/><Relationship Id="rId57" Type="http://schemas.microsoft.com/office/2018/10/relationships/authors" Target="authors.xml"/><Relationship Id="rId10" Type="http://schemas.openxmlformats.org/officeDocument/2006/relationships/slide" Target="slides/slide1.xml"/><Relationship Id="rId31" Type="http://schemas.openxmlformats.org/officeDocument/2006/relationships/notesMaster" Target="notesMasters/notesMaster1.xml"/><Relationship Id="rId44" Type="http://schemas.openxmlformats.org/officeDocument/2006/relationships/font" Target="fonts/font12.fntdata"/><Relationship Id="rId5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scar Llorente Gonzalez" userId="e1d48c7f-7de1-49f5-ba88-07a54202ac7d" providerId="ADAL" clId="{1EEC5D65-53DB-49BB-8210-9857D65F24AB}"/>
    <pc:docChg chg="undo custSel addSld delSld modSld sldOrd modMainMaster modSection">
      <pc:chgData name="Oscar Llorente Gonzalez" userId="e1d48c7f-7de1-49f5-ba88-07a54202ac7d" providerId="ADAL" clId="{1EEC5D65-53DB-49BB-8210-9857D65F24AB}" dt="2024-02-07T11:15:58.401" v="1317"/>
      <pc:docMkLst>
        <pc:docMk/>
      </pc:docMkLst>
      <pc:sldChg chg="delSp del mod">
        <pc:chgData name="Oscar Llorente Gonzalez" userId="e1d48c7f-7de1-49f5-ba88-07a54202ac7d" providerId="ADAL" clId="{1EEC5D65-53DB-49BB-8210-9857D65F24AB}" dt="2024-02-07T09:52:17.630" v="1313" actId="2696"/>
        <pc:sldMkLst>
          <pc:docMk/>
          <pc:sldMk cId="1383928708" sldId="261"/>
        </pc:sldMkLst>
      </pc:sldChg>
      <pc:sldChg chg="mod modShow">
        <pc:chgData name="Oscar Llorente Gonzalez" userId="e1d48c7f-7de1-49f5-ba88-07a54202ac7d" providerId="ADAL" clId="{1EEC5D65-53DB-49BB-8210-9857D65F24AB}" dt="2024-02-01T13:20:10.505" v="84" actId="729"/>
        <pc:sldMkLst>
          <pc:docMk/>
          <pc:sldMk cId="2395417709" sldId="2147479165"/>
        </pc:sldMkLst>
      </pc:sldChg>
      <pc:sldChg chg="mod modShow">
        <pc:chgData name="Oscar Llorente Gonzalez" userId="e1d48c7f-7de1-49f5-ba88-07a54202ac7d" providerId="ADAL" clId="{1EEC5D65-53DB-49BB-8210-9857D65F24AB}" dt="2024-02-01T13:17:57.563" v="82" actId="729"/>
        <pc:sldMkLst>
          <pc:docMk/>
          <pc:sldMk cId="3824782914" sldId="2147479178"/>
        </pc:sldMkLst>
      </pc:sldChg>
      <pc:sldChg chg="mod modShow">
        <pc:chgData name="Oscar Llorente Gonzalez" userId="e1d48c7f-7de1-49f5-ba88-07a54202ac7d" providerId="ADAL" clId="{1EEC5D65-53DB-49BB-8210-9857D65F24AB}" dt="2024-02-01T13:17:52.918" v="81" actId="729"/>
        <pc:sldMkLst>
          <pc:docMk/>
          <pc:sldMk cId="401904506" sldId="2147479182"/>
        </pc:sldMkLst>
      </pc:sldChg>
      <pc:sldChg chg="ord">
        <pc:chgData name="Oscar Llorente Gonzalez" userId="e1d48c7f-7de1-49f5-ba88-07a54202ac7d" providerId="ADAL" clId="{1EEC5D65-53DB-49BB-8210-9857D65F24AB}" dt="2024-02-07T11:15:58.401" v="1317"/>
        <pc:sldMkLst>
          <pc:docMk/>
          <pc:sldMk cId="1293046710" sldId="2147479183"/>
        </pc:sldMkLst>
      </pc:sldChg>
      <pc:sldChg chg="addCm">
        <pc:chgData name="Oscar Llorente Gonzalez" userId="e1d48c7f-7de1-49f5-ba88-07a54202ac7d" providerId="ADAL" clId="{1EEC5D65-53DB-49BB-8210-9857D65F24AB}" dt="2024-02-01T13:18:42.691" v="83"/>
        <pc:sldMkLst>
          <pc:docMk/>
          <pc:sldMk cId="2621176561" sldId="2147479188"/>
        </pc:sldMkLst>
      </pc:sldChg>
      <pc:sldChg chg="modSp mod">
        <pc:chgData name="Oscar Llorente Gonzalez" userId="e1d48c7f-7de1-49f5-ba88-07a54202ac7d" providerId="ADAL" clId="{1EEC5D65-53DB-49BB-8210-9857D65F24AB}" dt="2024-02-01T14:15:38.327" v="294" actId="20577"/>
        <pc:sldMkLst>
          <pc:docMk/>
          <pc:sldMk cId="46647062" sldId="2147479193"/>
        </pc:sldMkLst>
      </pc:sldChg>
      <pc:sldChg chg="del">
        <pc:chgData name="Oscar Llorente Gonzalez" userId="e1d48c7f-7de1-49f5-ba88-07a54202ac7d" providerId="ADAL" clId="{1EEC5D65-53DB-49BB-8210-9857D65F24AB}" dt="2024-02-01T13:20:46.543" v="85" actId="2696"/>
        <pc:sldMkLst>
          <pc:docMk/>
          <pc:sldMk cId="1255796900" sldId="2147479348"/>
        </pc:sldMkLst>
      </pc:sldChg>
      <pc:sldChg chg="ord">
        <pc:chgData name="Oscar Llorente Gonzalez" userId="e1d48c7f-7de1-49f5-ba88-07a54202ac7d" providerId="ADAL" clId="{1EEC5D65-53DB-49BB-8210-9857D65F24AB}" dt="2024-02-07T11:15:52.987" v="1315"/>
        <pc:sldMkLst>
          <pc:docMk/>
          <pc:sldMk cId="1594342864" sldId="2147479493"/>
        </pc:sldMkLst>
      </pc:sldChg>
      <pc:sldChg chg="addSp modSp mod">
        <pc:chgData name="Oscar Llorente Gonzalez" userId="e1d48c7f-7de1-49f5-ba88-07a54202ac7d" providerId="ADAL" clId="{1EEC5D65-53DB-49BB-8210-9857D65F24AB}" dt="2024-02-01T13:14:56.351" v="80" actId="1076"/>
        <pc:sldMkLst>
          <pc:docMk/>
          <pc:sldMk cId="2286114330" sldId="2147479503"/>
        </pc:sldMkLst>
      </pc:sldChg>
      <pc:sldChg chg="addSp delSp modSp new mod">
        <pc:chgData name="Oscar Llorente Gonzalez" userId="e1d48c7f-7de1-49f5-ba88-07a54202ac7d" providerId="ADAL" clId="{1EEC5D65-53DB-49BB-8210-9857D65F24AB}" dt="2024-02-07T09:32:14.801" v="1169" actId="1076"/>
        <pc:sldMkLst>
          <pc:docMk/>
          <pc:sldMk cId="2088336728" sldId="2147479796"/>
        </pc:sldMkLst>
      </pc:sldChg>
      <pc:sldChg chg="addSp delSp modSp new mod">
        <pc:chgData name="Oscar Llorente Gonzalez" userId="e1d48c7f-7de1-49f5-ba88-07a54202ac7d" providerId="ADAL" clId="{1EEC5D65-53DB-49BB-8210-9857D65F24AB}" dt="2024-02-07T09:51:45.617" v="1312" actId="1076"/>
        <pc:sldMkLst>
          <pc:docMk/>
          <pc:sldMk cId="4045496690" sldId="2147479797"/>
        </pc:sldMkLst>
      </pc:sldChg>
      <pc:sldMasterChg chg="addSp modSp mod delSldLayout modSldLayout">
        <pc:chgData name="Oscar Llorente Gonzalez" userId="e1d48c7f-7de1-49f5-ba88-07a54202ac7d" providerId="ADAL" clId="{1EEC5D65-53DB-49BB-8210-9857D65F24AB}" dt="2024-02-07T09:42:48.730" v="1297" actId="478"/>
        <pc:sldMasterMkLst>
          <pc:docMk/>
          <pc:sldMasterMk cId="2523064765" sldId="2147483660"/>
        </pc:sldMasterMkLst>
        <pc:sldLayoutChg chg="delSp modSp mod">
          <pc:chgData name="Oscar Llorente Gonzalez" userId="e1d48c7f-7de1-49f5-ba88-07a54202ac7d" providerId="ADAL" clId="{1EEC5D65-53DB-49BB-8210-9857D65F24AB}" dt="2024-02-07T09:37:53.594" v="1282" actId="478"/>
          <pc:sldLayoutMkLst>
            <pc:docMk/>
            <pc:sldMasterMk cId="2523064765" sldId="2147483660"/>
            <pc:sldLayoutMk cId="1374575616" sldId="2147483661"/>
          </pc:sldLayoutMkLst>
        </pc:sldLayoutChg>
        <pc:sldLayoutChg chg="delSp modSp mod">
          <pc:chgData name="Oscar Llorente Gonzalez" userId="e1d48c7f-7de1-49f5-ba88-07a54202ac7d" providerId="ADAL" clId="{1EEC5D65-53DB-49BB-8210-9857D65F24AB}" dt="2024-02-07T09:38:18.162" v="1284" actId="478"/>
          <pc:sldLayoutMkLst>
            <pc:docMk/>
            <pc:sldMasterMk cId="2523064765" sldId="2147483660"/>
            <pc:sldLayoutMk cId="3415456144" sldId="2147483673"/>
          </pc:sldLayoutMkLst>
        </pc:sldLayoutChg>
        <pc:sldLayoutChg chg="modSp mod">
          <pc:chgData name="Oscar Llorente Gonzalez" userId="e1d48c7f-7de1-49f5-ba88-07a54202ac7d" providerId="ADAL" clId="{1EEC5D65-53DB-49BB-8210-9857D65F24AB}" dt="2024-02-07T09:30:04.925" v="1031" actId="20577"/>
          <pc:sldLayoutMkLst>
            <pc:docMk/>
            <pc:sldMasterMk cId="2523064765" sldId="2147483660"/>
            <pc:sldLayoutMk cId="675883818" sldId="2147483675"/>
          </pc:sldLayoutMkLst>
        </pc:sldLayoutChg>
        <pc:sldLayoutChg chg="modSp mod">
          <pc:chgData name="Oscar Llorente Gonzalez" userId="e1d48c7f-7de1-49f5-ba88-07a54202ac7d" providerId="ADAL" clId="{1EEC5D65-53DB-49BB-8210-9857D65F24AB}" dt="2024-02-07T09:30:04.942" v="1039" actId="20577"/>
          <pc:sldLayoutMkLst>
            <pc:docMk/>
            <pc:sldMasterMk cId="2523064765" sldId="2147483660"/>
            <pc:sldLayoutMk cId="2275899235" sldId="2147483678"/>
          </pc:sldLayoutMkLst>
        </pc:sldLayoutChg>
        <pc:sldLayoutChg chg="modSp mod">
          <pc:chgData name="Oscar Llorente Gonzalez" userId="e1d48c7f-7de1-49f5-ba88-07a54202ac7d" providerId="ADAL" clId="{1EEC5D65-53DB-49BB-8210-9857D65F24AB}" dt="2024-02-07T09:30:04.958" v="1047" actId="20577"/>
          <pc:sldLayoutMkLst>
            <pc:docMk/>
            <pc:sldMasterMk cId="2523064765" sldId="2147483660"/>
            <pc:sldLayoutMk cId="1436988196" sldId="2147483681"/>
          </pc:sldLayoutMkLst>
        </pc:sldLayoutChg>
        <pc:sldLayoutChg chg="modSp mod">
          <pc:chgData name="Oscar Llorente Gonzalez" userId="e1d48c7f-7de1-49f5-ba88-07a54202ac7d" providerId="ADAL" clId="{1EEC5D65-53DB-49BB-8210-9857D65F24AB}" dt="2024-02-07T09:30:04.957" v="1043" actId="20577"/>
          <pc:sldLayoutMkLst>
            <pc:docMk/>
            <pc:sldMasterMk cId="2523064765" sldId="2147483660"/>
            <pc:sldLayoutMk cId="2548612008" sldId="2147483690"/>
          </pc:sldLayoutMkLst>
        </pc:sldLayoutChg>
        <pc:sldLayoutChg chg="delSp modSp mod">
          <pc:chgData name="Oscar Llorente Gonzalez" userId="e1d48c7f-7de1-49f5-ba88-07a54202ac7d" providerId="ADAL" clId="{1EEC5D65-53DB-49BB-8210-9857D65F24AB}" dt="2024-02-07T09:38:44.891" v="1285" actId="478"/>
          <pc:sldLayoutMkLst>
            <pc:docMk/>
            <pc:sldMasterMk cId="2523064765" sldId="2147483660"/>
            <pc:sldLayoutMk cId="3607999529" sldId="2147483694"/>
          </pc:sldLayoutMkLst>
        </pc:sldLayoutChg>
        <pc:sldLayoutChg chg="modSp mod">
          <pc:chgData name="Oscar Llorente Gonzalez" userId="e1d48c7f-7de1-49f5-ba88-07a54202ac7d" providerId="ADAL" clId="{1EEC5D65-53DB-49BB-8210-9857D65F24AB}" dt="2024-02-07T09:30:04.925" v="1035" actId="20577"/>
          <pc:sldLayoutMkLst>
            <pc:docMk/>
            <pc:sldMasterMk cId="2523064765" sldId="2147483660"/>
            <pc:sldLayoutMk cId="3545725332" sldId="2147483696"/>
          </pc:sldLayoutMkLst>
        </pc:sldLayoutChg>
        <pc:sldLayoutChg chg="addSp delSp modSp mod">
          <pc:chgData name="Oscar Llorente Gonzalez" userId="e1d48c7f-7de1-49f5-ba88-07a54202ac7d" providerId="ADAL" clId="{1EEC5D65-53DB-49BB-8210-9857D65F24AB}" dt="2024-02-07T09:42:48.730" v="1297" actId="478"/>
          <pc:sldLayoutMkLst>
            <pc:docMk/>
            <pc:sldMasterMk cId="2523064765" sldId="2147483660"/>
            <pc:sldLayoutMk cId="3443338964" sldId="2147483706"/>
          </pc:sldLayoutMkLst>
        </pc:sldLayoutChg>
        <pc:sldLayoutChg chg="addSp delSp modSp mod">
          <pc:chgData name="Oscar Llorente Gonzalez" userId="e1d48c7f-7de1-49f5-ba88-07a54202ac7d" providerId="ADAL" clId="{1EEC5D65-53DB-49BB-8210-9857D65F24AB}" dt="2024-02-07T09:36:33.037" v="1278"/>
          <pc:sldLayoutMkLst>
            <pc:docMk/>
            <pc:sldMasterMk cId="2523064765" sldId="2147483660"/>
            <pc:sldLayoutMk cId="395415313" sldId="2147483707"/>
          </pc:sldLayoutMkLst>
        </pc:sldLayoutChg>
        <pc:sldLayoutChg chg="modSp mod">
          <pc:chgData name="Oscar Llorente Gonzalez" userId="e1d48c7f-7de1-49f5-ba88-07a54202ac7d" providerId="ADAL" clId="{1EEC5D65-53DB-49BB-8210-9857D65F24AB}" dt="2024-02-07T09:30:04.890" v="1015" actId="20577"/>
          <pc:sldLayoutMkLst>
            <pc:docMk/>
            <pc:sldMasterMk cId="2523064765" sldId="2147483660"/>
            <pc:sldLayoutMk cId="3084474769" sldId="2147483709"/>
          </pc:sldLayoutMkLst>
        </pc:sldLayoutChg>
        <pc:sldLayoutChg chg="del">
          <pc:chgData name="Oscar Llorente Gonzalez" userId="e1d48c7f-7de1-49f5-ba88-07a54202ac7d" providerId="ADAL" clId="{1EEC5D65-53DB-49BB-8210-9857D65F24AB}" dt="2024-02-01T13:20:46.543" v="85" actId="2696"/>
          <pc:sldLayoutMkLst>
            <pc:docMk/>
            <pc:sldMasterMk cId="2523064765" sldId="2147483660"/>
            <pc:sldLayoutMk cId="3694931497" sldId="2147483874"/>
          </pc:sldLayoutMkLst>
        </pc:sldLayoutChg>
      </pc:sldMasterChg>
      <pc:sldMasterChg chg="modSp mod modSldLayout">
        <pc:chgData name="Oscar Llorente Gonzalez" userId="e1d48c7f-7de1-49f5-ba88-07a54202ac7d" providerId="ADAL" clId="{1EEC5D65-53DB-49BB-8210-9857D65F24AB}" dt="2024-02-07T09:30:05.324" v="1143" actId="20577"/>
        <pc:sldMasterMkLst>
          <pc:docMk/>
          <pc:sldMasterMk cId="4061182373" sldId="2147483765"/>
        </pc:sldMasterMkLst>
        <pc:sldLayoutChg chg="modSp">
          <pc:chgData name="Oscar Llorente Gonzalez" userId="e1d48c7f-7de1-49f5-ba88-07a54202ac7d" providerId="ADAL" clId="{1EEC5D65-53DB-49BB-8210-9857D65F24AB}" dt="2024-02-07T08:46:36.933" v="863" actId="1076"/>
          <pc:sldLayoutMkLst>
            <pc:docMk/>
            <pc:sldMasterMk cId="4061182373" sldId="2147483765"/>
            <pc:sldLayoutMk cId="1977142871" sldId="2147483767"/>
          </pc:sldLayoutMkLst>
        </pc:sldLayoutChg>
        <pc:sldLayoutChg chg="addSp delSp modSp">
          <pc:chgData name="Oscar Llorente Gonzalez" userId="e1d48c7f-7de1-49f5-ba88-07a54202ac7d" providerId="ADAL" clId="{1EEC5D65-53DB-49BB-8210-9857D65F24AB}" dt="2024-02-06T20:21:01.634" v="722" actId="478"/>
          <pc:sldLayoutMkLst>
            <pc:docMk/>
            <pc:sldMasterMk cId="4061182373" sldId="2147483765"/>
            <pc:sldLayoutMk cId="3732486968" sldId="2147483770"/>
          </pc:sldLayoutMkLst>
        </pc:sldLayoutChg>
        <pc:sldLayoutChg chg="modSp mod">
          <pc:chgData name="Oscar Llorente Gonzalez" userId="e1d48c7f-7de1-49f5-ba88-07a54202ac7d" providerId="ADAL" clId="{1EEC5D65-53DB-49BB-8210-9857D65F24AB}" dt="2024-02-07T09:30:04.979" v="1055" actId="20577"/>
          <pc:sldLayoutMkLst>
            <pc:docMk/>
            <pc:sldMasterMk cId="4061182373" sldId="2147483765"/>
            <pc:sldLayoutMk cId="2458328145" sldId="2147483775"/>
          </pc:sldLayoutMkLst>
        </pc:sldLayoutChg>
        <pc:sldLayoutChg chg="modSp mod">
          <pc:chgData name="Oscar Llorente Gonzalez" userId="e1d48c7f-7de1-49f5-ba88-07a54202ac7d" providerId="ADAL" clId="{1EEC5D65-53DB-49BB-8210-9857D65F24AB}" dt="2024-02-07T09:30:04.995" v="1059" actId="20577"/>
          <pc:sldLayoutMkLst>
            <pc:docMk/>
            <pc:sldMasterMk cId="4061182373" sldId="2147483765"/>
            <pc:sldLayoutMk cId="2991321209" sldId="2147483776"/>
          </pc:sldLayoutMkLst>
        </pc:sldLayoutChg>
        <pc:sldLayoutChg chg="modSp mod">
          <pc:chgData name="Oscar Llorente Gonzalez" userId="e1d48c7f-7de1-49f5-ba88-07a54202ac7d" providerId="ADAL" clId="{1EEC5D65-53DB-49BB-8210-9857D65F24AB}" dt="2024-02-07T09:30:04.995" v="1063" actId="20577"/>
          <pc:sldLayoutMkLst>
            <pc:docMk/>
            <pc:sldMasterMk cId="4061182373" sldId="2147483765"/>
            <pc:sldLayoutMk cId="515948995" sldId="2147483777"/>
          </pc:sldLayoutMkLst>
        </pc:sldLayoutChg>
        <pc:sldLayoutChg chg="modSp mod">
          <pc:chgData name="Oscar Llorente Gonzalez" userId="e1d48c7f-7de1-49f5-ba88-07a54202ac7d" providerId="ADAL" clId="{1EEC5D65-53DB-49BB-8210-9857D65F24AB}" dt="2024-02-07T09:30:05.019" v="1067" actId="20577"/>
          <pc:sldLayoutMkLst>
            <pc:docMk/>
            <pc:sldMasterMk cId="4061182373" sldId="2147483765"/>
            <pc:sldLayoutMk cId="1967283423" sldId="2147483779"/>
          </pc:sldLayoutMkLst>
        </pc:sldLayoutChg>
        <pc:sldLayoutChg chg="modSp mod">
          <pc:chgData name="Oscar Llorente Gonzalez" userId="e1d48c7f-7de1-49f5-ba88-07a54202ac7d" providerId="ADAL" clId="{1EEC5D65-53DB-49BB-8210-9857D65F24AB}" dt="2024-02-07T09:30:05.023" v="1071" actId="20577"/>
          <pc:sldLayoutMkLst>
            <pc:docMk/>
            <pc:sldMasterMk cId="4061182373" sldId="2147483765"/>
            <pc:sldLayoutMk cId="1092349489" sldId="2147483782"/>
          </pc:sldLayoutMkLst>
        </pc:sldLayoutChg>
        <pc:sldLayoutChg chg="modSp mod">
          <pc:chgData name="Oscar Llorente Gonzalez" userId="e1d48c7f-7de1-49f5-ba88-07a54202ac7d" providerId="ADAL" clId="{1EEC5D65-53DB-49BB-8210-9857D65F24AB}" dt="2024-02-07T09:30:05.057" v="1075" actId="20577"/>
          <pc:sldLayoutMkLst>
            <pc:docMk/>
            <pc:sldMasterMk cId="4061182373" sldId="2147483765"/>
            <pc:sldLayoutMk cId="3518373976" sldId="2147483801"/>
          </pc:sldLayoutMkLst>
        </pc:sldLayoutChg>
        <pc:sldLayoutChg chg="modSp mod">
          <pc:chgData name="Oscar Llorente Gonzalez" userId="e1d48c7f-7de1-49f5-ba88-07a54202ac7d" providerId="ADAL" clId="{1EEC5D65-53DB-49BB-8210-9857D65F24AB}" dt="2024-02-07T09:30:05.067" v="1079" actId="20577"/>
          <pc:sldLayoutMkLst>
            <pc:docMk/>
            <pc:sldMasterMk cId="4061182373" sldId="2147483765"/>
            <pc:sldLayoutMk cId="1623742912" sldId="2147483802"/>
          </pc:sldLayoutMkLst>
        </pc:sldLayoutChg>
        <pc:sldLayoutChg chg="modSp mod">
          <pc:chgData name="Oscar Llorente Gonzalez" userId="e1d48c7f-7de1-49f5-ba88-07a54202ac7d" providerId="ADAL" clId="{1EEC5D65-53DB-49BB-8210-9857D65F24AB}" dt="2024-02-07T09:30:05.107" v="1083" actId="20577"/>
          <pc:sldLayoutMkLst>
            <pc:docMk/>
            <pc:sldMasterMk cId="4061182373" sldId="2147483765"/>
            <pc:sldLayoutMk cId="1461235300" sldId="2147483821"/>
          </pc:sldLayoutMkLst>
        </pc:sldLayoutChg>
        <pc:sldLayoutChg chg="modSp mod">
          <pc:chgData name="Oscar Llorente Gonzalez" userId="e1d48c7f-7de1-49f5-ba88-07a54202ac7d" providerId="ADAL" clId="{1EEC5D65-53DB-49BB-8210-9857D65F24AB}" dt="2024-02-07T09:30:05.107" v="1087" actId="20577"/>
          <pc:sldLayoutMkLst>
            <pc:docMk/>
            <pc:sldMasterMk cId="4061182373" sldId="2147483765"/>
            <pc:sldLayoutMk cId="2881847180" sldId="2147483822"/>
          </pc:sldLayoutMkLst>
        </pc:sldLayoutChg>
        <pc:sldLayoutChg chg="modSp mod">
          <pc:chgData name="Oscar Llorente Gonzalez" userId="e1d48c7f-7de1-49f5-ba88-07a54202ac7d" providerId="ADAL" clId="{1EEC5D65-53DB-49BB-8210-9857D65F24AB}" dt="2024-02-07T09:30:05.124" v="1091" actId="20577"/>
          <pc:sldLayoutMkLst>
            <pc:docMk/>
            <pc:sldMasterMk cId="4061182373" sldId="2147483765"/>
            <pc:sldLayoutMk cId="19749786" sldId="2147483823"/>
          </pc:sldLayoutMkLst>
        </pc:sldLayoutChg>
        <pc:sldLayoutChg chg="modSp mod">
          <pc:chgData name="Oscar Llorente Gonzalez" userId="e1d48c7f-7de1-49f5-ba88-07a54202ac7d" providerId="ADAL" clId="{1EEC5D65-53DB-49BB-8210-9857D65F24AB}" dt="2024-02-07T09:30:05.124" v="1095" actId="20577"/>
          <pc:sldLayoutMkLst>
            <pc:docMk/>
            <pc:sldMasterMk cId="4061182373" sldId="2147483765"/>
            <pc:sldLayoutMk cId="2795526763" sldId="2147483824"/>
          </pc:sldLayoutMkLst>
        </pc:sldLayoutChg>
        <pc:sldLayoutChg chg="modSp mod">
          <pc:chgData name="Oscar Llorente Gonzalez" userId="e1d48c7f-7de1-49f5-ba88-07a54202ac7d" providerId="ADAL" clId="{1EEC5D65-53DB-49BB-8210-9857D65F24AB}" dt="2024-02-07T09:30:05.140" v="1099" actId="20577"/>
          <pc:sldLayoutMkLst>
            <pc:docMk/>
            <pc:sldMasterMk cId="4061182373" sldId="2147483765"/>
            <pc:sldLayoutMk cId="186073884" sldId="2147483825"/>
          </pc:sldLayoutMkLst>
        </pc:sldLayoutChg>
        <pc:sldLayoutChg chg="modSp mod">
          <pc:chgData name="Oscar Llorente Gonzalez" userId="e1d48c7f-7de1-49f5-ba88-07a54202ac7d" providerId="ADAL" clId="{1EEC5D65-53DB-49BB-8210-9857D65F24AB}" dt="2024-02-07T09:30:05.157" v="1103" actId="20577"/>
          <pc:sldLayoutMkLst>
            <pc:docMk/>
            <pc:sldMasterMk cId="4061182373" sldId="2147483765"/>
            <pc:sldLayoutMk cId="3364640623" sldId="2147483826"/>
          </pc:sldLayoutMkLst>
        </pc:sldLayoutChg>
        <pc:sldLayoutChg chg="modSp mod">
          <pc:chgData name="Oscar Llorente Gonzalez" userId="e1d48c7f-7de1-49f5-ba88-07a54202ac7d" providerId="ADAL" clId="{1EEC5D65-53DB-49BB-8210-9857D65F24AB}" dt="2024-02-07T09:30:05.157" v="1107" actId="20577"/>
          <pc:sldLayoutMkLst>
            <pc:docMk/>
            <pc:sldMasterMk cId="4061182373" sldId="2147483765"/>
            <pc:sldLayoutMk cId="442173529" sldId="2147483827"/>
          </pc:sldLayoutMkLst>
        </pc:sldLayoutChg>
        <pc:sldLayoutChg chg="modSp mod">
          <pc:chgData name="Oscar Llorente Gonzalez" userId="e1d48c7f-7de1-49f5-ba88-07a54202ac7d" providerId="ADAL" clId="{1EEC5D65-53DB-49BB-8210-9857D65F24AB}" dt="2024-02-07T09:30:05.173" v="1111" actId="20577"/>
          <pc:sldLayoutMkLst>
            <pc:docMk/>
            <pc:sldMasterMk cId="4061182373" sldId="2147483765"/>
            <pc:sldLayoutMk cId="3245256019" sldId="2147483828"/>
          </pc:sldLayoutMkLst>
        </pc:sldLayoutChg>
        <pc:sldLayoutChg chg="modSp mod">
          <pc:chgData name="Oscar Llorente Gonzalez" userId="e1d48c7f-7de1-49f5-ba88-07a54202ac7d" providerId="ADAL" clId="{1EEC5D65-53DB-49BB-8210-9857D65F24AB}" dt="2024-02-07T09:30:05.173" v="1115" actId="20577"/>
          <pc:sldLayoutMkLst>
            <pc:docMk/>
            <pc:sldMasterMk cId="4061182373" sldId="2147483765"/>
            <pc:sldLayoutMk cId="740314404" sldId="2147483829"/>
          </pc:sldLayoutMkLst>
        </pc:sldLayoutChg>
        <pc:sldLayoutChg chg="modSp mod">
          <pc:chgData name="Oscar Llorente Gonzalez" userId="e1d48c7f-7de1-49f5-ba88-07a54202ac7d" providerId="ADAL" clId="{1EEC5D65-53DB-49BB-8210-9857D65F24AB}" dt="2024-02-07T09:30:05.191" v="1119" actId="20577"/>
          <pc:sldLayoutMkLst>
            <pc:docMk/>
            <pc:sldMasterMk cId="4061182373" sldId="2147483765"/>
            <pc:sldLayoutMk cId="3035770219" sldId="2147483830"/>
          </pc:sldLayoutMkLst>
        </pc:sldLayoutChg>
        <pc:sldLayoutChg chg="modSp mod">
          <pc:chgData name="Oscar Llorente Gonzalez" userId="e1d48c7f-7de1-49f5-ba88-07a54202ac7d" providerId="ADAL" clId="{1EEC5D65-53DB-49BB-8210-9857D65F24AB}" dt="2024-02-07T09:30:05.191" v="1123" actId="20577"/>
          <pc:sldLayoutMkLst>
            <pc:docMk/>
            <pc:sldMasterMk cId="4061182373" sldId="2147483765"/>
            <pc:sldLayoutMk cId="2372352142" sldId="2147483831"/>
          </pc:sldLayoutMkLst>
        </pc:sldLayoutChg>
        <pc:sldLayoutChg chg="modSp mod">
          <pc:chgData name="Oscar Llorente Gonzalez" userId="e1d48c7f-7de1-49f5-ba88-07a54202ac7d" providerId="ADAL" clId="{1EEC5D65-53DB-49BB-8210-9857D65F24AB}" dt="2024-02-07T09:30:05.208" v="1127" actId="20577"/>
          <pc:sldLayoutMkLst>
            <pc:docMk/>
            <pc:sldMasterMk cId="4061182373" sldId="2147483765"/>
            <pc:sldLayoutMk cId="980170257" sldId="2147483832"/>
          </pc:sldLayoutMkLst>
        </pc:sldLayoutChg>
        <pc:sldLayoutChg chg="modSp mod">
          <pc:chgData name="Oscar Llorente Gonzalez" userId="e1d48c7f-7de1-49f5-ba88-07a54202ac7d" providerId="ADAL" clId="{1EEC5D65-53DB-49BB-8210-9857D65F24AB}" dt="2024-02-07T09:30:05.250" v="1131" actId="20577"/>
          <pc:sldLayoutMkLst>
            <pc:docMk/>
            <pc:sldMasterMk cId="4061182373" sldId="2147483765"/>
            <pc:sldLayoutMk cId="3249480313" sldId="2147483845"/>
          </pc:sldLayoutMkLst>
        </pc:sldLayoutChg>
        <pc:sldLayoutChg chg="modSp mod">
          <pc:chgData name="Oscar Llorente Gonzalez" userId="e1d48c7f-7de1-49f5-ba88-07a54202ac7d" providerId="ADAL" clId="{1EEC5D65-53DB-49BB-8210-9857D65F24AB}" dt="2024-02-07T09:30:05.260" v="1135" actId="20577"/>
          <pc:sldLayoutMkLst>
            <pc:docMk/>
            <pc:sldMasterMk cId="4061182373" sldId="2147483765"/>
            <pc:sldLayoutMk cId="4078751501" sldId="2147483846"/>
          </pc:sldLayoutMkLst>
        </pc:sldLayoutChg>
        <pc:sldLayoutChg chg="modSp mod">
          <pc:chgData name="Oscar Llorente Gonzalez" userId="e1d48c7f-7de1-49f5-ba88-07a54202ac7d" providerId="ADAL" clId="{1EEC5D65-53DB-49BB-8210-9857D65F24AB}" dt="2024-02-07T09:30:05.274" v="1139" actId="20577"/>
          <pc:sldLayoutMkLst>
            <pc:docMk/>
            <pc:sldMasterMk cId="4061182373" sldId="2147483765"/>
            <pc:sldLayoutMk cId="3981605940" sldId="2147483847"/>
          </pc:sldLayoutMkLst>
        </pc:sldLayoutChg>
        <pc:sldLayoutChg chg="modSp mod">
          <pc:chgData name="Oscar Llorente Gonzalez" userId="e1d48c7f-7de1-49f5-ba88-07a54202ac7d" providerId="ADAL" clId="{1EEC5D65-53DB-49BB-8210-9857D65F24AB}" dt="2024-02-07T09:30:05.324" v="1143" actId="20577"/>
          <pc:sldLayoutMkLst>
            <pc:docMk/>
            <pc:sldMasterMk cId="4061182373" sldId="2147483765"/>
            <pc:sldLayoutMk cId="3709990802" sldId="2147483870"/>
          </pc:sldLayoutMkLst>
        </pc:sldLayoutChg>
      </pc:sldMasterChg>
    </pc:docChg>
  </pc:docChgLst>
  <pc:docChgLst>
    <pc:chgData name="Oscar Llorente Gonzalez" userId="e1d48c7f-7de1-49f5-ba88-07a54202ac7d" providerId="ADAL" clId="{04CDE1D9-6D60-4CFA-88D3-DE837369D236}"/>
    <pc:docChg chg="undo custSel addSld delSld modSld modMainMaster modSection">
      <pc:chgData name="Oscar Llorente Gonzalez" userId="e1d48c7f-7de1-49f5-ba88-07a54202ac7d" providerId="ADAL" clId="{04CDE1D9-6D60-4CFA-88D3-DE837369D236}" dt="2025-09-18T10:05:22.438" v="411" actId="20577"/>
      <pc:docMkLst>
        <pc:docMk/>
      </pc:docMkLst>
      <pc:sldChg chg="modSp add mod">
        <pc:chgData name="Oscar Llorente Gonzalez" userId="e1d48c7f-7de1-49f5-ba88-07a54202ac7d" providerId="ADAL" clId="{04CDE1D9-6D60-4CFA-88D3-DE837369D236}" dt="2025-09-18T09:45:50.887" v="296" actId="20577"/>
        <pc:sldMkLst>
          <pc:docMk/>
          <pc:sldMk cId="3589023870" sldId="364"/>
        </pc:sldMkLst>
        <pc:spChg chg="mod">
          <ac:chgData name="Oscar Llorente Gonzalez" userId="e1d48c7f-7de1-49f5-ba88-07a54202ac7d" providerId="ADAL" clId="{04CDE1D9-6D60-4CFA-88D3-DE837369D236}" dt="2025-09-18T09:45:50.887" v="296" actId="20577"/>
          <ac:spMkLst>
            <pc:docMk/>
            <pc:sldMk cId="3589023870" sldId="364"/>
            <ac:spMk id="2" creationId="{4871AD3B-9545-8BD3-090C-A171761596C0}"/>
          </ac:spMkLst>
        </pc:spChg>
      </pc:sldChg>
      <pc:sldChg chg="delSp modSp add mod">
        <pc:chgData name="Oscar Llorente Gonzalez" userId="e1d48c7f-7de1-49f5-ba88-07a54202ac7d" providerId="ADAL" clId="{04CDE1D9-6D60-4CFA-88D3-DE837369D236}" dt="2025-09-18T09:48:10.108" v="310" actId="1076"/>
        <pc:sldMkLst>
          <pc:docMk/>
          <pc:sldMk cId="3371022488" sldId="368"/>
        </pc:sldMkLst>
        <pc:spChg chg="del mod">
          <ac:chgData name="Oscar Llorente Gonzalez" userId="e1d48c7f-7de1-49f5-ba88-07a54202ac7d" providerId="ADAL" clId="{04CDE1D9-6D60-4CFA-88D3-DE837369D236}" dt="2025-09-18T09:48:08.038" v="309" actId="478"/>
          <ac:spMkLst>
            <pc:docMk/>
            <pc:sldMk cId="3371022488" sldId="368"/>
            <ac:spMk id="2" creationId="{BB331C66-9BB1-E176-2A93-49A3CA24DBA1}"/>
          </ac:spMkLst>
        </pc:spChg>
        <pc:picChg chg="mod">
          <ac:chgData name="Oscar Llorente Gonzalez" userId="e1d48c7f-7de1-49f5-ba88-07a54202ac7d" providerId="ADAL" clId="{04CDE1D9-6D60-4CFA-88D3-DE837369D236}" dt="2025-09-18T09:48:10.108" v="310" actId="1076"/>
          <ac:picMkLst>
            <pc:docMk/>
            <pc:sldMk cId="3371022488" sldId="368"/>
            <ac:picMk id="2050" creationId="{C571377E-2A4A-C733-FD71-9717309A819C}"/>
          </ac:picMkLst>
        </pc:picChg>
      </pc:sldChg>
      <pc:sldChg chg="modSp add">
        <pc:chgData name="Oscar Llorente Gonzalez" userId="e1d48c7f-7de1-49f5-ba88-07a54202ac7d" providerId="ADAL" clId="{04CDE1D9-6D60-4CFA-88D3-DE837369D236}" dt="2025-09-18T09:45:13.765" v="292"/>
        <pc:sldMkLst>
          <pc:docMk/>
          <pc:sldMk cId="1036264232" sldId="370"/>
        </pc:sldMkLst>
        <pc:spChg chg="mod">
          <ac:chgData name="Oscar Llorente Gonzalez" userId="e1d48c7f-7de1-49f5-ba88-07a54202ac7d" providerId="ADAL" clId="{04CDE1D9-6D60-4CFA-88D3-DE837369D236}" dt="2025-09-18T09:45:13.765" v="292"/>
          <ac:spMkLst>
            <pc:docMk/>
            <pc:sldMk cId="1036264232" sldId="370"/>
            <ac:spMk id="2" creationId="{CB288812-DD60-07AE-412C-E6D8933CAD5B}"/>
          </ac:spMkLst>
        </pc:spChg>
      </pc:sldChg>
      <pc:sldChg chg="modSp add">
        <pc:chgData name="Oscar Llorente Gonzalez" userId="e1d48c7f-7de1-49f5-ba88-07a54202ac7d" providerId="ADAL" clId="{04CDE1D9-6D60-4CFA-88D3-DE837369D236}" dt="2025-09-18T09:48:24.073" v="312"/>
        <pc:sldMkLst>
          <pc:docMk/>
          <pc:sldMk cId="527802993" sldId="378"/>
        </pc:sldMkLst>
        <pc:spChg chg="mod">
          <ac:chgData name="Oscar Llorente Gonzalez" userId="e1d48c7f-7de1-49f5-ba88-07a54202ac7d" providerId="ADAL" clId="{04CDE1D9-6D60-4CFA-88D3-DE837369D236}" dt="2025-09-18T09:48:24.073" v="312"/>
          <ac:spMkLst>
            <pc:docMk/>
            <pc:sldMk cId="527802993" sldId="378"/>
            <ac:spMk id="2" creationId="{582576C6-A7C2-7364-D6B6-4C4EE845A092}"/>
          </ac:spMkLst>
        </pc:spChg>
      </pc:sldChg>
      <pc:sldChg chg="add">
        <pc:chgData name="Oscar Llorente Gonzalez" userId="e1d48c7f-7de1-49f5-ba88-07a54202ac7d" providerId="ADAL" clId="{04CDE1D9-6D60-4CFA-88D3-DE837369D236}" dt="2025-09-18T09:47:16.586" v="298"/>
        <pc:sldMkLst>
          <pc:docMk/>
          <pc:sldMk cId="32938838" sldId="381"/>
        </pc:sldMkLst>
      </pc:sldChg>
      <pc:sldChg chg="addSp delSp modSp add mod">
        <pc:chgData name="Oscar Llorente Gonzalez" userId="e1d48c7f-7de1-49f5-ba88-07a54202ac7d" providerId="ADAL" clId="{04CDE1D9-6D60-4CFA-88D3-DE837369D236}" dt="2025-09-18T09:51:47.173" v="323" actId="20577"/>
        <pc:sldMkLst>
          <pc:docMk/>
          <pc:sldMk cId="1647765772" sldId="385"/>
        </pc:sldMkLst>
        <pc:spChg chg="mod">
          <ac:chgData name="Oscar Llorente Gonzalez" userId="e1d48c7f-7de1-49f5-ba88-07a54202ac7d" providerId="ADAL" clId="{04CDE1D9-6D60-4CFA-88D3-DE837369D236}" dt="2025-09-18T09:51:47.173" v="323" actId="20577"/>
          <ac:spMkLst>
            <pc:docMk/>
            <pc:sldMk cId="1647765772" sldId="385"/>
            <ac:spMk id="2" creationId="{FC7AFB91-C397-18B9-D437-5384E65606F3}"/>
          </ac:spMkLst>
        </pc:spChg>
        <pc:picChg chg="add mod">
          <ac:chgData name="Oscar Llorente Gonzalez" userId="e1d48c7f-7de1-49f5-ba88-07a54202ac7d" providerId="ADAL" clId="{04CDE1D9-6D60-4CFA-88D3-DE837369D236}" dt="2025-09-18T09:51:41.466" v="319" actId="1076"/>
          <ac:picMkLst>
            <pc:docMk/>
            <pc:sldMk cId="1647765772" sldId="385"/>
            <ac:picMk id="2050" creationId="{50680333-7D80-F1FC-4DD1-A5853417948B}"/>
          </ac:picMkLst>
        </pc:picChg>
        <pc:picChg chg="del">
          <ac:chgData name="Oscar Llorente Gonzalez" userId="e1d48c7f-7de1-49f5-ba88-07a54202ac7d" providerId="ADAL" clId="{04CDE1D9-6D60-4CFA-88D3-DE837369D236}" dt="2025-09-18T09:51:33.382" v="316" actId="478"/>
          <ac:picMkLst>
            <pc:docMk/>
            <pc:sldMk cId="1647765772" sldId="385"/>
            <ac:picMk id="8194" creationId="{C3B1F6B0-9A8E-E0DC-2B5E-EEB585F23DFD}"/>
          </ac:picMkLst>
        </pc:picChg>
      </pc:sldChg>
      <pc:sldChg chg="modSp mod">
        <pc:chgData name="Oscar Llorente Gonzalez" userId="e1d48c7f-7de1-49f5-ba88-07a54202ac7d" providerId="ADAL" clId="{04CDE1D9-6D60-4CFA-88D3-DE837369D236}" dt="2025-09-18T10:05:02.072" v="407" actId="20577"/>
        <pc:sldMkLst>
          <pc:docMk/>
          <pc:sldMk cId="46647062" sldId="2147479193"/>
        </pc:sldMkLst>
        <pc:spChg chg="mod">
          <ac:chgData name="Oscar Llorente Gonzalez" userId="e1d48c7f-7de1-49f5-ba88-07a54202ac7d" providerId="ADAL" clId="{04CDE1D9-6D60-4CFA-88D3-DE837369D236}" dt="2025-09-18T10:05:02.072" v="407" actId="20577"/>
          <ac:spMkLst>
            <pc:docMk/>
            <pc:sldMk cId="46647062" sldId="2147479193"/>
            <ac:spMk id="4" creationId="{CF1133B3-17C3-57AA-A549-C7EA019C2094}"/>
          </ac:spMkLst>
        </pc:spChg>
        <pc:spChg chg="mod">
          <ac:chgData name="Oscar Llorente Gonzalez" userId="e1d48c7f-7de1-49f5-ba88-07a54202ac7d" providerId="ADAL" clId="{04CDE1D9-6D60-4CFA-88D3-DE837369D236}" dt="2025-09-18T10:04:56.953" v="398" actId="20577"/>
          <ac:spMkLst>
            <pc:docMk/>
            <pc:sldMk cId="46647062" sldId="2147479193"/>
            <ac:spMk id="20" creationId="{BDDCF03B-24AE-05EB-527C-A8170D91E665}"/>
          </ac:spMkLst>
        </pc:spChg>
      </pc:sldChg>
      <pc:sldChg chg="del">
        <pc:chgData name="Oscar Llorente Gonzalez" userId="e1d48c7f-7de1-49f5-ba88-07a54202ac7d" providerId="ADAL" clId="{04CDE1D9-6D60-4CFA-88D3-DE837369D236}" dt="2025-09-18T09:10:50.965" v="127" actId="47"/>
        <pc:sldMkLst>
          <pc:docMk/>
          <pc:sldMk cId="349078831" sldId="2147479823"/>
        </pc:sldMkLst>
      </pc:sldChg>
      <pc:sldChg chg="del">
        <pc:chgData name="Oscar Llorente Gonzalez" userId="e1d48c7f-7de1-49f5-ba88-07a54202ac7d" providerId="ADAL" clId="{04CDE1D9-6D60-4CFA-88D3-DE837369D236}" dt="2025-09-18T09:10:40.608" v="126" actId="47"/>
        <pc:sldMkLst>
          <pc:docMk/>
          <pc:sldMk cId="2504933933" sldId="2147479824"/>
        </pc:sldMkLst>
      </pc:sldChg>
      <pc:sldChg chg="modSp mod">
        <pc:chgData name="Oscar Llorente Gonzalez" userId="e1d48c7f-7de1-49f5-ba88-07a54202ac7d" providerId="ADAL" clId="{04CDE1D9-6D60-4CFA-88D3-DE837369D236}" dt="2025-09-18T09:11:51.161" v="167" actId="20577"/>
        <pc:sldMkLst>
          <pc:docMk/>
          <pc:sldMk cId="927779489" sldId="2147479825"/>
        </pc:sldMkLst>
        <pc:spChg chg="mod">
          <ac:chgData name="Oscar Llorente Gonzalez" userId="e1d48c7f-7de1-49f5-ba88-07a54202ac7d" providerId="ADAL" clId="{04CDE1D9-6D60-4CFA-88D3-DE837369D236}" dt="2025-09-18T09:11:51.161" v="167" actId="20577"/>
          <ac:spMkLst>
            <pc:docMk/>
            <pc:sldMk cId="927779489" sldId="2147479825"/>
            <ac:spMk id="2" creationId="{9ECB7AE7-7E59-6681-05F5-63E56DD98B4F}"/>
          </ac:spMkLst>
        </pc:spChg>
      </pc:sldChg>
      <pc:sldChg chg="modSp mod">
        <pc:chgData name="Oscar Llorente Gonzalez" userId="e1d48c7f-7de1-49f5-ba88-07a54202ac7d" providerId="ADAL" clId="{04CDE1D9-6D60-4CFA-88D3-DE837369D236}" dt="2025-09-18T09:12:10.495" v="173" actId="1076"/>
        <pc:sldMkLst>
          <pc:docMk/>
          <pc:sldMk cId="3265116380" sldId="2147479828"/>
        </pc:sldMkLst>
        <pc:spChg chg="mod">
          <ac:chgData name="Oscar Llorente Gonzalez" userId="e1d48c7f-7de1-49f5-ba88-07a54202ac7d" providerId="ADAL" clId="{04CDE1D9-6D60-4CFA-88D3-DE837369D236}" dt="2025-09-18T09:12:10.495" v="173" actId="1076"/>
          <ac:spMkLst>
            <pc:docMk/>
            <pc:sldMk cId="3265116380" sldId="2147479828"/>
            <ac:spMk id="198" creationId="{D2F7C6D9-96AD-24F2-7812-412011511ADB}"/>
          </ac:spMkLst>
        </pc:spChg>
      </pc:sldChg>
      <pc:sldChg chg="del">
        <pc:chgData name="Oscar Llorente Gonzalez" userId="e1d48c7f-7de1-49f5-ba88-07a54202ac7d" providerId="ADAL" clId="{04CDE1D9-6D60-4CFA-88D3-DE837369D236}" dt="2025-09-18T09:11:22.144" v="129" actId="47"/>
        <pc:sldMkLst>
          <pc:docMk/>
          <pc:sldMk cId="206420167" sldId="2147479832"/>
        </pc:sldMkLst>
      </pc:sldChg>
      <pc:sldChg chg="del">
        <pc:chgData name="Oscar Llorente Gonzalez" userId="e1d48c7f-7de1-49f5-ba88-07a54202ac7d" providerId="ADAL" clId="{04CDE1D9-6D60-4CFA-88D3-DE837369D236}" dt="2025-09-18T09:11:22.144" v="129" actId="47"/>
        <pc:sldMkLst>
          <pc:docMk/>
          <pc:sldMk cId="2764360597" sldId="2147479833"/>
        </pc:sldMkLst>
      </pc:sldChg>
      <pc:sldChg chg="addSp modSp mod setBg">
        <pc:chgData name="Oscar Llorente Gonzalez" userId="e1d48c7f-7de1-49f5-ba88-07a54202ac7d" providerId="ADAL" clId="{04CDE1D9-6D60-4CFA-88D3-DE837369D236}" dt="2025-09-18T10:04:20.324" v="370"/>
        <pc:sldMkLst>
          <pc:docMk/>
          <pc:sldMk cId="3142548179" sldId="2147479834"/>
        </pc:sldMkLst>
        <pc:spChg chg="mod">
          <ac:chgData name="Oscar Llorente Gonzalez" userId="e1d48c7f-7de1-49f5-ba88-07a54202ac7d" providerId="ADAL" clId="{04CDE1D9-6D60-4CFA-88D3-DE837369D236}" dt="2025-09-18T10:04:20.324" v="370"/>
          <ac:spMkLst>
            <pc:docMk/>
            <pc:sldMk cId="3142548179" sldId="2147479834"/>
            <ac:spMk id="3" creationId="{FEE58850-F4A1-D07C-0233-D4EE5758F0A4}"/>
          </ac:spMkLst>
        </pc:spChg>
        <pc:spChg chg="add">
          <ac:chgData name="Oscar Llorente Gonzalez" userId="e1d48c7f-7de1-49f5-ba88-07a54202ac7d" providerId="ADAL" clId="{04CDE1D9-6D60-4CFA-88D3-DE837369D236}" dt="2025-09-18T09:52:17.221" v="325"/>
          <ac:spMkLst>
            <pc:docMk/>
            <pc:sldMk cId="3142548179" sldId="2147479834"/>
            <ac:spMk id="4" creationId="{2A2981E0-70B9-087B-2436-FE0B031E8AD1}"/>
          </ac:spMkLst>
        </pc:spChg>
        <pc:spChg chg="add">
          <ac:chgData name="Oscar Llorente Gonzalez" userId="e1d48c7f-7de1-49f5-ba88-07a54202ac7d" providerId="ADAL" clId="{04CDE1D9-6D60-4CFA-88D3-DE837369D236}" dt="2025-09-18T09:52:17.221" v="325"/>
          <ac:spMkLst>
            <pc:docMk/>
            <pc:sldMk cId="3142548179" sldId="2147479834"/>
            <ac:spMk id="5" creationId="{10FFA358-D0C0-5998-5E12-6F3705A08616}"/>
          </ac:spMkLst>
        </pc:spChg>
        <pc:spChg chg="add">
          <ac:chgData name="Oscar Llorente Gonzalez" userId="e1d48c7f-7de1-49f5-ba88-07a54202ac7d" providerId="ADAL" clId="{04CDE1D9-6D60-4CFA-88D3-DE837369D236}" dt="2025-09-18T09:52:17.221" v="325"/>
          <ac:spMkLst>
            <pc:docMk/>
            <pc:sldMk cId="3142548179" sldId="2147479834"/>
            <ac:spMk id="6" creationId="{ACB72D24-8B9E-B9EB-5DBC-4EECC096C21E}"/>
          </ac:spMkLst>
        </pc:spChg>
        <pc:spChg chg="add">
          <ac:chgData name="Oscar Llorente Gonzalez" userId="e1d48c7f-7de1-49f5-ba88-07a54202ac7d" providerId="ADAL" clId="{04CDE1D9-6D60-4CFA-88D3-DE837369D236}" dt="2025-09-18T09:52:17.221" v="325"/>
          <ac:spMkLst>
            <pc:docMk/>
            <pc:sldMk cId="3142548179" sldId="2147479834"/>
            <ac:spMk id="7" creationId="{EB3D5A88-A86B-BCC7-1BB2-2727C94FD901}"/>
          </ac:spMkLst>
        </pc:spChg>
      </pc:sldChg>
      <pc:sldChg chg="del">
        <pc:chgData name="Oscar Llorente Gonzalez" userId="e1d48c7f-7de1-49f5-ba88-07a54202ac7d" providerId="ADAL" clId="{04CDE1D9-6D60-4CFA-88D3-DE837369D236}" dt="2025-09-18T09:11:17.105" v="128" actId="47"/>
        <pc:sldMkLst>
          <pc:docMk/>
          <pc:sldMk cId="1570847427" sldId="2147479835"/>
        </pc:sldMkLst>
      </pc:sldChg>
      <pc:sldChg chg="del">
        <pc:chgData name="Oscar Llorente Gonzalez" userId="e1d48c7f-7de1-49f5-ba88-07a54202ac7d" providerId="ADAL" clId="{04CDE1D9-6D60-4CFA-88D3-DE837369D236}" dt="2025-09-18T09:11:22.144" v="129" actId="47"/>
        <pc:sldMkLst>
          <pc:docMk/>
          <pc:sldMk cId="721471011" sldId="2147479836"/>
        </pc:sldMkLst>
      </pc:sldChg>
      <pc:sldChg chg="del">
        <pc:chgData name="Oscar Llorente Gonzalez" userId="e1d48c7f-7de1-49f5-ba88-07a54202ac7d" providerId="ADAL" clId="{04CDE1D9-6D60-4CFA-88D3-DE837369D236}" dt="2025-09-18T09:11:17.105" v="128" actId="47"/>
        <pc:sldMkLst>
          <pc:docMk/>
          <pc:sldMk cId="4232699703" sldId="2147479837"/>
        </pc:sldMkLst>
      </pc:sldChg>
      <pc:sldChg chg="del">
        <pc:chgData name="Oscar Llorente Gonzalez" userId="e1d48c7f-7de1-49f5-ba88-07a54202ac7d" providerId="ADAL" clId="{04CDE1D9-6D60-4CFA-88D3-DE837369D236}" dt="2025-09-18T09:11:17.105" v="128" actId="47"/>
        <pc:sldMkLst>
          <pc:docMk/>
          <pc:sldMk cId="1503827115" sldId="2147479838"/>
        </pc:sldMkLst>
      </pc:sldChg>
      <pc:sldChg chg="del">
        <pc:chgData name="Oscar Llorente Gonzalez" userId="e1d48c7f-7de1-49f5-ba88-07a54202ac7d" providerId="ADAL" clId="{04CDE1D9-6D60-4CFA-88D3-DE837369D236}" dt="2025-09-18T09:11:17.105" v="128" actId="47"/>
        <pc:sldMkLst>
          <pc:docMk/>
          <pc:sldMk cId="3834283447" sldId="2147479839"/>
        </pc:sldMkLst>
      </pc:sldChg>
      <pc:sldChg chg="del">
        <pc:chgData name="Oscar Llorente Gonzalez" userId="e1d48c7f-7de1-49f5-ba88-07a54202ac7d" providerId="ADAL" clId="{04CDE1D9-6D60-4CFA-88D3-DE837369D236}" dt="2025-09-18T09:11:22.144" v="129" actId="47"/>
        <pc:sldMkLst>
          <pc:docMk/>
          <pc:sldMk cId="2708139774" sldId="2147479841"/>
        </pc:sldMkLst>
      </pc:sldChg>
      <pc:sldChg chg="del">
        <pc:chgData name="Oscar Llorente Gonzalez" userId="e1d48c7f-7de1-49f5-ba88-07a54202ac7d" providerId="ADAL" clId="{04CDE1D9-6D60-4CFA-88D3-DE837369D236}" dt="2025-09-18T09:11:17.105" v="128" actId="47"/>
        <pc:sldMkLst>
          <pc:docMk/>
          <pc:sldMk cId="2508278326" sldId="2147479843"/>
        </pc:sldMkLst>
      </pc:sldChg>
      <pc:sldChg chg="addSp delSp modSp new mod">
        <pc:chgData name="Oscar Llorente Gonzalez" userId="e1d48c7f-7de1-49f5-ba88-07a54202ac7d" providerId="ADAL" clId="{04CDE1D9-6D60-4CFA-88D3-DE837369D236}" dt="2025-09-18T08:19:58.727" v="13" actId="20577"/>
        <pc:sldMkLst>
          <pc:docMk/>
          <pc:sldMk cId="811072435" sldId="2147479844"/>
        </pc:sldMkLst>
        <pc:spChg chg="mod">
          <ac:chgData name="Oscar Llorente Gonzalez" userId="e1d48c7f-7de1-49f5-ba88-07a54202ac7d" providerId="ADAL" clId="{04CDE1D9-6D60-4CFA-88D3-DE837369D236}" dt="2025-09-18T08:19:58.727" v="13" actId="20577"/>
          <ac:spMkLst>
            <pc:docMk/>
            <pc:sldMk cId="811072435" sldId="2147479844"/>
            <ac:spMk id="2" creationId="{44E94010-4C29-40F3-18E6-11602177C126}"/>
          </ac:spMkLst>
        </pc:spChg>
        <pc:spChg chg="del">
          <ac:chgData name="Oscar Llorente Gonzalez" userId="e1d48c7f-7de1-49f5-ba88-07a54202ac7d" providerId="ADAL" clId="{04CDE1D9-6D60-4CFA-88D3-DE837369D236}" dt="2025-09-18T08:19:45.390" v="1" actId="478"/>
          <ac:spMkLst>
            <pc:docMk/>
            <pc:sldMk cId="811072435" sldId="2147479844"/>
            <ac:spMk id="3" creationId="{81833D37-3303-03AA-BAF7-4BF05B4B7C97}"/>
          </ac:spMkLst>
        </pc:spChg>
        <pc:picChg chg="add mod">
          <ac:chgData name="Oscar Llorente Gonzalez" userId="e1d48c7f-7de1-49f5-ba88-07a54202ac7d" providerId="ADAL" clId="{04CDE1D9-6D60-4CFA-88D3-DE837369D236}" dt="2025-09-18T08:19:51.077" v="4" actId="1076"/>
          <ac:picMkLst>
            <pc:docMk/>
            <pc:sldMk cId="811072435" sldId="2147479844"/>
            <ac:picMk id="4" creationId="{2471F9A8-D5A3-A1F2-A490-24A603E3E271}"/>
          </ac:picMkLst>
        </pc:picChg>
      </pc:sldChg>
      <pc:sldChg chg="addSp delSp modSp new mod">
        <pc:chgData name="Oscar Llorente Gonzalez" userId="e1d48c7f-7de1-49f5-ba88-07a54202ac7d" providerId="ADAL" clId="{04CDE1D9-6D60-4CFA-88D3-DE837369D236}" dt="2025-09-18T09:09:29.338" v="114" actId="1076"/>
        <pc:sldMkLst>
          <pc:docMk/>
          <pc:sldMk cId="1993959527" sldId="2147479845"/>
        </pc:sldMkLst>
        <pc:spChg chg="mod">
          <ac:chgData name="Oscar Llorente Gonzalez" userId="e1d48c7f-7de1-49f5-ba88-07a54202ac7d" providerId="ADAL" clId="{04CDE1D9-6D60-4CFA-88D3-DE837369D236}" dt="2025-09-18T08:24:28.587" v="27" actId="20577"/>
          <ac:spMkLst>
            <pc:docMk/>
            <pc:sldMk cId="1993959527" sldId="2147479845"/>
            <ac:spMk id="2" creationId="{407F8588-DDFB-ACA8-F378-5B3FFDF585BA}"/>
          </ac:spMkLst>
        </pc:spChg>
        <pc:spChg chg="del">
          <ac:chgData name="Oscar Llorente Gonzalez" userId="e1d48c7f-7de1-49f5-ba88-07a54202ac7d" providerId="ADAL" clId="{04CDE1D9-6D60-4CFA-88D3-DE837369D236}" dt="2025-09-18T08:24:30.632" v="28" actId="478"/>
          <ac:spMkLst>
            <pc:docMk/>
            <pc:sldMk cId="1993959527" sldId="2147479845"/>
            <ac:spMk id="3" creationId="{67E6532E-D1DC-0174-8FAF-75A06DFFF96A}"/>
          </ac:spMkLst>
        </pc:spChg>
        <pc:picChg chg="add mod">
          <ac:chgData name="Oscar Llorente Gonzalez" userId="e1d48c7f-7de1-49f5-ba88-07a54202ac7d" providerId="ADAL" clId="{04CDE1D9-6D60-4CFA-88D3-DE837369D236}" dt="2025-09-18T09:09:22.374" v="112" actId="1076"/>
          <ac:picMkLst>
            <pc:docMk/>
            <pc:sldMk cId="1993959527" sldId="2147479845"/>
            <ac:picMk id="5" creationId="{17F114B7-D802-8A45-78A1-07E892B94D80}"/>
          </ac:picMkLst>
        </pc:picChg>
        <pc:picChg chg="add mod">
          <ac:chgData name="Oscar Llorente Gonzalez" userId="e1d48c7f-7de1-49f5-ba88-07a54202ac7d" providerId="ADAL" clId="{04CDE1D9-6D60-4CFA-88D3-DE837369D236}" dt="2025-09-18T09:09:29.338" v="114" actId="1076"/>
          <ac:picMkLst>
            <pc:docMk/>
            <pc:sldMk cId="1993959527" sldId="2147479845"/>
            <ac:picMk id="7" creationId="{05B7589B-B21E-B06F-278C-D06CCDA9EB08}"/>
          </ac:picMkLst>
        </pc:picChg>
        <pc:picChg chg="add del mod">
          <ac:chgData name="Oscar Llorente Gonzalez" userId="e1d48c7f-7de1-49f5-ba88-07a54202ac7d" providerId="ADAL" clId="{04CDE1D9-6D60-4CFA-88D3-DE837369D236}" dt="2025-09-18T09:09:25.932" v="113" actId="478"/>
          <ac:picMkLst>
            <pc:docMk/>
            <pc:sldMk cId="1993959527" sldId="2147479845"/>
            <ac:picMk id="9" creationId="{C1705247-BFD8-B5DB-A002-F727B5743A96}"/>
          </ac:picMkLst>
        </pc:picChg>
      </pc:sldChg>
      <pc:sldChg chg="addSp delSp modSp new mod">
        <pc:chgData name="Oscar Llorente Gonzalez" userId="e1d48c7f-7de1-49f5-ba88-07a54202ac7d" providerId="ADAL" clId="{04CDE1D9-6D60-4CFA-88D3-DE837369D236}" dt="2025-09-18T09:10:32.838" v="125" actId="1076"/>
        <pc:sldMkLst>
          <pc:docMk/>
          <pc:sldMk cId="4030600449" sldId="2147479846"/>
        </pc:sldMkLst>
        <pc:spChg chg="mod">
          <ac:chgData name="Oscar Llorente Gonzalez" userId="e1d48c7f-7de1-49f5-ba88-07a54202ac7d" providerId="ADAL" clId="{04CDE1D9-6D60-4CFA-88D3-DE837369D236}" dt="2025-09-18T09:05:42.512" v="99" actId="20577"/>
          <ac:spMkLst>
            <pc:docMk/>
            <pc:sldMk cId="4030600449" sldId="2147479846"/>
            <ac:spMk id="2" creationId="{43B5C601-8A76-27A5-5227-A21E34E45824}"/>
          </ac:spMkLst>
        </pc:spChg>
        <pc:spChg chg="del">
          <ac:chgData name="Oscar Llorente Gonzalez" userId="e1d48c7f-7de1-49f5-ba88-07a54202ac7d" providerId="ADAL" clId="{04CDE1D9-6D60-4CFA-88D3-DE837369D236}" dt="2025-09-18T08:54:24.432" v="53" actId="478"/>
          <ac:spMkLst>
            <pc:docMk/>
            <pc:sldMk cId="4030600449" sldId="2147479846"/>
            <ac:spMk id="3" creationId="{BB6AA023-9F36-3A71-896E-00BC06E738B3}"/>
          </ac:spMkLst>
        </pc:spChg>
        <pc:picChg chg="add mod">
          <ac:chgData name="Oscar Llorente Gonzalez" userId="e1d48c7f-7de1-49f5-ba88-07a54202ac7d" providerId="ADAL" clId="{04CDE1D9-6D60-4CFA-88D3-DE837369D236}" dt="2025-09-18T09:09:34.609" v="116" actId="1076"/>
          <ac:picMkLst>
            <pc:docMk/>
            <pc:sldMk cId="4030600449" sldId="2147479846"/>
            <ac:picMk id="5" creationId="{8FC6EC65-4526-95A4-4F01-8023AA0CE90D}"/>
          </ac:picMkLst>
        </pc:picChg>
        <pc:picChg chg="add del mod">
          <ac:chgData name="Oscar Llorente Gonzalez" userId="e1d48c7f-7de1-49f5-ba88-07a54202ac7d" providerId="ADAL" clId="{04CDE1D9-6D60-4CFA-88D3-DE837369D236}" dt="2025-09-18T09:10:23.888" v="120" actId="478"/>
          <ac:picMkLst>
            <pc:docMk/>
            <pc:sldMk cId="4030600449" sldId="2147479846"/>
            <ac:picMk id="7" creationId="{32B2692B-2885-4D52-13C2-2D4F5E33EF37}"/>
          </ac:picMkLst>
        </pc:picChg>
        <pc:picChg chg="add mod">
          <ac:chgData name="Oscar Llorente Gonzalez" userId="e1d48c7f-7de1-49f5-ba88-07a54202ac7d" providerId="ADAL" clId="{04CDE1D9-6D60-4CFA-88D3-DE837369D236}" dt="2025-09-18T09:10:32.838" v="125" actId="1076"/>
          <ac:picMkLst>
            <pc:docMk/>
            <pc:sldMk cId="4030600449" sldId="2147479846"/>
            <ac:picMk id="9" creationId="{E68AC10C-8673-BA7D-F8C5-DF8664ED5AFA}"/>
          </ac:picMkLst>
        </pc:picChg>
      </pc:sldChg>
      <pc:sldChg chg="addSp delSp modSp new del mod">
        <pc:chgData name="Oscar Llorente Gonzalez" userId="e1d48c7f-7de1-49f5-ba88-07a54202ac7d" providerId="ADAL" clId="{04CDE1D9-6D60-4CFA-88D3-DE837369D236}" dt="2025-09-18T09:45:22.501" v="293" actId="47"/>
        <pc:sldMkLst>
          <pc:docMk/>
          <pc:sldMk cId="49091838" sldId="2147479847"/>
        </pc:sldMkLst>
        <pc:spChg chg="add del mod">
          <ac:chgData name="Oscar Llorente Gonzalez" userId="e1d48c7f-7de1-49f5-ba88-07a54202ac7d" providerId="ADAL" clId="{04CDE1D9-6D60-4CFA-88D3-DE837369D236}" dt="2025-09-18T09:17:38.029" v="287" actId="20577"/>
          <ac:spMkLst>
            <pc:docMk/>
            <pc:sldMk cId="49091838" sldId="2147479847"/>
            <ac:spMk id="2" creationId="{1FA953DA-0A9F-AED4-4E26-6AE6E79D8785}"/>
          </ac:spMkLst>
        </pc:spChg>
        <pc:spChg chg="del">
          <ac:chgData name="Oscar Llorente Gonzalez" userId="e1d48c7f-7de1-49f5-ba88-07a54202ac7d" providerId="ADAL" clId="{04CDE1D9-6D60-4CFA-88D3-DE837369D236}" dt="2025-09-18T09:15:14.259" v="174" actId="478"/>
          <ac:spMkLst>
            <pc:docMk/>
            <pc:sldMk cId="49091838" sldId="2147479847"/>
            <ac:spMk id="3" creationId="{272A006F-BD30-6DDE-376F-A3F73F074DF8}"/>
          </ac:spMkLst>
        </pc:spChg>
        <pc:picChg chg="add mod">
          <ac:chgData name="Oscar Llorente Gonzalez" userId="e1d48c7f-7de1-49f5-ba88-07a54202ac7d" providerId="ADAL" clId="{04CDE1D9-6D60-4CFA-88D3-DE837369D236}" dt="2025-09-18T09:16:58.521" v="189" actId="1076"/>
          <ac:picMkLst>
            <pc:docMk/>
            <pc:sldMk cId="49091838" sldId="2147479847"/>
            <ac:picMk id="1026" creationId="{7920B1B7-68FE-2EA9-A826-05563F523B86}"/>
          </ac:picMkLst>
        </pc:picChg>
        <pc:picChg chg="add">
          <ac:chgData name="Oscar Llorente Gonzalez" userId="e1d48c7f-7de1-49f5-ba88-07a54202ac7d" providerId="ADAL" clId="{04CDE1D9-6D60-4CFA-88D3-DE837369D236}" dt="2025-09-18T09:31:57.056" v="290"/>
          <ac:picMkLst>
            <pc:docMk/>
            <pc:sldMk cId="49091838" sldId="2147479847"/>
            <ac:picMk id="1028" creationId="{88A25E31-4E06-3FDE-0DB0-472693853C90}"/>
          </ac:picMkLst>
        </pc:picChg>
        <pc:picChg chg="add">
          <ac:chgData name="Oscar Llorente Gonzalez" userId="e1d48c7f-7de1-49f5-ba88-07a54202ac7d" providerId="ADAL" clId="{04CDE1D9-6D60-4CFA-88D3-DE837369D236}" dt="2025-09-18T09:31:57.056" v="290"/>
          <ac:picMkLst>
            <pc:docMk/>
            <pc:sldMk cId="49091838" sldId="2147479847"/>
            <ac:picMk id="1029" creationId="{ED7021C5-07B2-54B3-D672-D4B541ABD394}"/>
          </ac:picMkLst>
        </pc:picChg>
      </pc:sldChg>
      <pc:sldChg chg="new del">
        <pc:chgData name="Oscar Llorente Gonzalez" userId="e1d48c7f-7de1-49f5-ba88-07a54202ac7d" providerId="ADAL" clId="{04CDE1D9-6D60-4CFA-88D3-DE837369D236}" dt="2025-09-18T09:09:40.604" v="118" actId="47"/>
        <pc:sldMkLst>
          <pc:docMk/>
          <pc:sldMk cId="670362210" sldId="2147479847"/>
        </pc:sldMkLst>
      </pc:sldChg>
      <pc:sldChg chg="new del">
        <pc:chgData name="Oscar Llorente Gonzalez" userId="e1d48c7f-7de1-49f5-ba88-07a54202ac7d" providerId="ADAL" clId="{04CDE1D9-6D60-4CFA-88D3-DE837369D236}" dt="2025-09-18T09:47:13.571" v="297" actId="47"/>
        <pc:sldMkLst>
          <pc:docMk/>
          <pc:sldMk cId="964023312" sldId="2147479848"/>
        </pc:sldMkLst>
      </pc:sldChg>
      <pc:sldChg chg="addSp delSp modSp new mod">
        <pc:chgData name="Oscar Llorente Gonzalez" userId="e1d48c7f-7de1-49f5-ba88-07a54202ac7d" providerId="ADAL" clId="{04CDE1D9-6D60-4CFA-88D3-DE837369D236}" dt="2025-09-18T09:55:02.971" v="368" actId="1076"/>
        <pc:sldMkLst>
          <pc:docMk/>
          <pc:sldMk cId="475647377" sldId="2147479849"/>
        </pc:sldMkLst>
        <pc:spChg chg="mod">
          <ac:chgData name="Oscar Llorente Gonzalez" userId="e1d48c7f-7de1-49f5-ba88-07a54202ac7d" providerId="ADAL" clId="{04CDE1D9-6D60-4CFA-88D3-DE837369D236}" dt="2025-09-18T09:54:51.238" v="367" actId="20577"/>
          <ac:spMkLst>
            <pc:docMk/>
            <pc:sldMk cId="475647377" sldId="2147479849"/>
            <ac:spMk id="2" creationId="{6C5FEE73-2D61-E0ED-48BC-BF3B0FA7DDB3}"/>
          </ac:spMkLst>
        </pc:spChg>
        <pc:spChg chg="del">
          <ac:chgData name="Oscar Llorente Gonzalez" userId="e1d48c7f-7de1-49f5-ba88-07a54202ac7d" providerId="ADAL" clId="{04CDE1D9-6D60-4CFA-88D3-DE837369D236}" dt="2025-09-18T09:54:24.004" v="339" actId="21"/>
          <ac:spMkLst>
            <pc:docMk/>
            <pc:sldMk cId="475647377" sldId="2147479849"/>
            <ac:spMk id="3" creationId="{8769917D-46A0-3879-481B-2EF516FF83B5}"/>
          </ac:spMkLst>
        </pc:spChg>
        <pc:picChg chg="add mod">
          <ac:chgData name="Oscar Llorente Gonzalez" userId="e1d48c7f-7de1-49f5-ba88-07a54202ac7d" providerId="ADAL" clId="{04CDE1D9-6D60-4CFA-88D3-DE837369D236}" dt="2025-09-18T09:54:27.191" v="340"/>
          <ac:picMkLst>
            <pc:docMk/>
            <pc:sldMk cId="475647377" sldId="2147479849"/>
            <ac:picMk id="4" creationId="{77949B49-214B-C003-DD6A-BA64A382FA19}"/>
          </ac:picMkLst>
        </pc:picChg>
        <pc:picChg chg="add mod">
          <ac:chgData name="Oscar Llorente Gonzalez" userId="e1d48c7f-7de1-49f5-ba88-07a54202ac7d" providerId="ADAL" clId="{04CDE1D9-6D60-4CFA-88D3-DE837369D236}" dt="2025-09-18T09:54:27.191" v="340"/>
          <ac:picMkLst>
            <pc:docMk/>
            <pc:sldMk cId="475647377" sldId="2147479849"/>
            <ac:picMk id="5" creationId="{CA8ED0C2-FE46-92EC-84DE-E312CE6F9911}"/>
          </ac:picMkLst>
        </pc:picChg>
        <pc:picChg chg="add mod">
          <ac:chgData name="Oscar Llorente Gonzalez" userId="e1d48c7f-7de1-49f5-ba88-07a54202ac7d" providerId="ADAL" clId="{04CDE1D9-6D60-4CFA-88D3-DE837369D236}" dt="2025-09-18T09:54:27.191" v="340"/>
          <ac:picMkLst>
            <pc:docMk/>
            <pc:sldMk cId="475647377" sldId="2147479849"/>
            <ac:picMk id="6" creationId="{900FE95B-80DF-AC8E-87D5-ED37F7D1857E}"/>
          </ac:picMkLst>
        </pc:picChg>
        <pc:picChg chg="add mod">
          <ac:chgData name="Oscar Llorente Gonzalez" userId="e1d48c7f-7de1-49f5-ba88-07a54202ac7d" providerId="ADAL" clId="{04CDE1D9-6D60-4CFA-88D3-DE837369D236}" dt="2025-09-18T09:54:27.191" v="340"/>
          <ac:picMkLst>
            <pc:docMk/>
            <pc:sldMk cId="475647377" sldId="2147479849"/>
            <ac:picMk id="7" creationId="{5A3003BA-87D5-903C-4F3F-6A46BC75D3A5}"/>
          </ac:picMkLst>
        </pc:picChg>
        <pc:picChg chg="add mod">
          <ac:chgData name="Oscar Llorente Gonzalez" userId="e1d48c7f-7de1-49f5-ba88-07a54202ac7d" providerId="ADAL" clId="{04CDE1D9-6D60-4CFA-88D3-DE837369D236}" dt="2025-09-18T09:54:29.573" v="341"/>
          <ac:picMkLst>
            <pc:docMk/>
            <pc:sldMk cId="475647377" sldId="2147479849"/>
            <ac:picMk id="8" creationId="{C418A1EE-4D10-5E89-05CA-E21BD4469361}"/>
          </ac:picMkLst>
        </pc:picChg>
        <pc:picChg chg="add mod">
          <ac:chgData name="Oscar Llorente Gonzalez" userId="e1d48c7f-7de1-49f5-ba88-07a54202ac7d" providerId="ADAL" clId="{04CDE1D9-6D60-4CFA-88D3-DE837369D236}" dt="2025-09-18T09:54:29.573" v="341"/>
          <ac:picMkLst>
            <pc:docMk/>
            <pc:sldMk cId="475647377" sldId="2147479849"/>
            <ac:picMk id="9" creationId="{2A8CAF7F-BC88-B45D-36B1-D36E9A3DB8AB}"/>
          </ac:picMkLst>
        </pc:picChg>
        <pc:picChg chg="add mod">
          <ac:chgData name="Oscar Llorente Gonzalez" userId="e1d48c7f-7de1-49f5-ba88-07a54202ac7d" providerId="ADAL" clId="{04CDE1D9-6D60-4CFA-88D3-DE837369D236}" dt="2025-09-18T09:54:29.573" v="341"/>
          <ac:picMkLst>
            <pc:docMk/>
            <pc:sldMk cId="475647377" sldId="2147479849"/>
            <ac:picMk id="10" creationId="{C22E513C-11C5-6572-70EF-B8584D715DD1}"/>
          </ac:picMkLst>
        </pc:picChg>
        <pc:picChg chg="add mod">
          <ac:chgData name="Oscar Llorente Gonzalez" userId="e1d48c7f-7de1-49f5-ba88-07a54202ac7d" providerId="ADAL" clId="{04CDE1D9-6D60-4CFA-88D3-DE837369D236}" dt="2025-09-18T09:54:29.573" v="341"/>
          <ac:picMkLst>
            <pc:docMk/>
            <pc:sldMk cId="475647377" sldId="2147479849"/>
            <ac:picMk id="11" creationId="{F8DA6634-5B1F-DFFA-16AB-5A01F788E3F4}"/>
          </ac:picMkLst>
        </pc:picChg>
        <pc:picChg chg="add mod">
          <ac:chgData name="Oscar Llorente Gonzalez" userId="e1d48c7f-7de1-49f5-ba88-07a54202ac7d" providerId="ADAL" clId="{04CDE1D9-6D60-4CFA-88D3-DE837369D236}" dt="2025-09-18T09:55:02.971" v="368" actId="1076"/>
          <ac:picMkLst>
            <pc:docMk/>
            <pc:sldMk cId="475647377" sldId="2147479849"/>
            <ac:picMk id="12" creationId="{65303598-B4F3-A666-C0B5-0EB0F25471F7}"/>
          </ac:picMkLst>
        </pc:picChg>
      </pc:sldChg>
      <pc:sldChg chg="new del">
        <pc:chgData name="Oscar Llorente Gonzalez" userId="e1d48c7f-7de1-49f5-ba88-07a54202ac7d" providerId="ADAL" clId="{04CDE1D9-6D60-4CFA-88D3-DE837369D236}" dt="2025-09-18T09:49:49.070" v="315" actId="47"/>
        <pc:sldMkLst>
          <pc:docMk/>
          <pc:sldMk cId="2518252064" sldId="2147479850"/>
        </pc:sldMkLst>
      </pc:sldChg>
      <pc:sldChg chg="delSp new del mod">
        <pc:chgData name="Oscar Llorente Gonzalez" userId="e1d48c7f-7de1-49f5-ba88-07a54202ac7d" providerId="ADAL" clId="{04CDE1D9-6D60-4CFA-88D3-DE837369D236}" dt="2025-09-18T09:49:08.593" v="313" actId="47"/>
        <pc:sldMkLst>
          <pc:docMk/>
          <pc:sldMk cId="3050584635" sldId="2147479851"/>
        </pc:sldMkLst>
        <pc:spChg chg="del">
          <ac:chgData name="Oscar Llorente Gonzalez" userId="e1d48c7f-7de1-49f5-ba88-07a54202ac7d" providerId="ADAL" clId="{04CDE1D9-6D60-4CFA-88D3-DE837369D236}" dt="2025-09-18T09:47:47.959" v="301" actId="478"/>
          <ac:spMkLst>
            <pc:docMk/>
            <pc:sldMk cId="3050584635" sldId="2147479851"/>
            <ac:spMk id="3" creationId="{F4FA47E7-7212-9645-F606-7E49AA04D943}"/>
          </ac:spMkLst>
        </pc:spChg>
      </pc:sldChg>
      <pc:sldMasterChg chg="modSp mod">
        <pc:chgData name="Oscar Llorente Gonzalez" userId="e1d48c7f-7de1-49f5-ba88-07a54202ac7d" providerId="ADAL" clId="{04CDE1D9-6D60-4CFA-88D3-DE837369D236}" dt="2025-09-18T10:05:22.438" v="411" actId="20577"/>
        <pc:sldMasterMkLst>
          <pc:docMk/>
          <pc:sldMasterMk cId="2523064765" sldId="2147483660"/>
        </pc:sldMasterMkLst>
        <pc:spChg chg="mod">
          <ac:chgData name="Oscar Llorente Gonzalez" userId="e1d48c7f-7de1-49f5-ba88-07a54202ac7d" providerId="ADAL" clId="{04CDE1D9-6D60-4CFA-88D3-DE837369D236}" dt="2025-09-18T10:05:22.438" v="411" actId="20577"/>
          <ac:spMkLst>
            <pc:docMk/>
            <pc:sldMasterMk cId="2523064765" sldId="2147483660"/>
            <ac:spMk id="3" creationId="{0665815C-E6AB-667E-FD0B-272049406215}"/>
          </ac:spMkLst>
        </pc:spChg>
      </pc:sldMasterChg>
    </pc:docChg>
  </pc:docChgLst>
  <pc:docChgLst>
    <pc:chgData name="Oscar Llorente Gonzalez" userId="e1d48c7f-7de1-49f5-ba88-07a54202ac7d" providerId="ADAL" clId="{2EB597FE-FE2E-47C9-86A5-2D441B3829E4}"/>
    <pc:docChg chg="undo custSel delSld modSld sldOrd modMainMaster modSection">
      <pc:chgData name="Oscar Llorente Gonzalez" userId="e1d48c7f-7de1-49f5-ba88-07a54202ac7d" providerId="ADAL" clId="{2EB597FE-FE2E-47C9-86A5-2D441B3829E4}" dt="2024-02-08T11:15:35.862" v="856" actId="14100"/>
      <pc:docMkLst>
        <pc:docMk/>
      </pc:docMkLst>
      <pc:sldChg chg="del">
        <pc:chgData name="Oscar Llorente Gonzalez" userId="e1d48c7f-7de1-49f5-ba88-07a54202ac7d" providerId="ADAL" clId="{2EB597FE-FE2E-47C9-86A5-2D441B3829E4}" dt="2024-02-08T10:53:38.279" v="142" actId="47"/>
        <pc:sldMkLst>
          <pc:docMk/>
          <pc:sldMk cId="3709959988" sldId="270"/>
        </pc:sldMkLst>
      </pc:sldChg>
      <pc:sldChg chg="del">
        <pc:chgData name="Oscar Llorente Gonzalez" userId="e1d48c7f-7de1-49f5-ba88-07a54202ac7d" providerId="ADAL" clId="{2EB597FE-FE2E-47C9-86A5-2D441B3829E4}" dt="2024-02-08T10:53:37.623" v="141" actId="47"/>
        <pc:sldMkLst>
          <pc:docMk/>
          <pc:sldMk cId="2395417709" sldId="2147479165"/>
        </pc:sldMkLst>
      </pc:sldChg>
      <pc:sldChg chg="del">
        <pc:chgData name="Oscar Llorente Gonzalez" userId="e1d48c7f-7de1-49f5-ba88-07a54202ac7d" providerId="ADAL" clId="{2EB597FE-FE2E-47C9-86A5-2D441B3829E4}" dt="2024-02-08T10:53:35.216" v="137" actId="47"/>
        <pc:sldMkLst>
          <pc:docMk/>
          <pc:sldMk cId="3824782914" sldId="2147479178"/>
        </pc:sldMkLst>
      </pc:sldChg>
      <pc:sldChg chg="del">
        <pc:chgData name="Oscar Llorente Gonzalez" userId="e1d48c7f-7de1-49f5-ba88-07a54202ac7d" providerId="ADAL" clId="{2EB597FE-FE2E-47C9-86A5-2D441B3829E4}" dt="2024-02-08T10:53:36.386" v="139" actId="47"/>
        <pc:sldMkLst>
          <pc:docMk/>
          <pc:sldMk cId="1730299970" sldId="2147479179"/>
        </pc:sldMkLst>
      </pc:sldChg>
      <pc:sldChg chg="del">
        <pc:chgData name="Oscar Llorente Gonzalez" userId="e1d48c7f-7de1-49f5-ba88-07a54202ac7d" providerId="ADAL" clId="{2EB597FE-FE2E-47C9-86A5-2D441B3829E4}" dt="2024-02-08T10:53:34.656" v="136" actId="47"/>
        <pc:sldMkLst>
          <pc:docMk/>
          <pc:sldMk cId="401904506" sldId="2147479182"/>
        </pc:sldMkLst>
      </pc:sldChg>
      <pc:sldChg chg="del">
        <pc:chgData name="Oscar Llorente Gonzalez" userId="e1d48c7f-7de1-49f5-ba88-07a54202ac7d" providerId="ADAL" clId="{2EB597FE-FE2E-47C9-86A5-2D441B3829E4}" dt="2024-02-08T10:53:35.795" v="138" actId="47"/>
        <pc:sldMkLst>
          <pc:docMk/>
          <pc:sldMk cId="1293046710" sldId="2147479183"/>
        </pc:sldMkLst>
      </pc:sldChg>
      <pc:sldChg chg="del">
        <pc:chgData name="Oscar Llorente Gonzalez" userId="e1d48c7f-7de1-49f5-ba88-07a54202ac7d" providerId="ADAL" clId="{2EB597FE-FE2E-47C9-86A5-2D441B3829E4}" dt="2024-02-08T10:53:31.202" v="134" actId="47"/>
        <pc:sldMkLst>
          <pc:docMk/>
          <pc:sldMk cId="71226376" sldId="2147479187"/>
        </pc:sldMkLst>
      </pc:sldChg>
      <pc:sldChg chg="del">
        <pc:chgData name="Oscar Llorente Gonzalez" userId="e1d48c7f-7de1-49f5-ba88-07a54202ac7d" providerId="ADAL" clId="{2EB597FE-FE2E-47C9-86A5-2D441B3829E4}" dt="2024-02-08T10:53:30.479" v="133" actId="47"/>
        <pc:sldMkLst>
          <pc:docMk/>
          <pc:sldMk cId="2621176561" sldId="2147479188"/>
        </pc:sldMkLst>
      </pc:sldChg>
      <pc:sldChg chg="del">
        <pc:chgData name="Oscar Llorente Gonzalez" userId="e1d48c7f-7de1-49f5-ba88-07a54202ac7d" providerId="ADAL" clId="{2EB597FE-FE2E-47C9-86A5-2D441B3829E4}" dt="2024-02-08T10:53:40.056" v="145" actId="47"/>
        <pc:sldMkLst>
          <pc:docMk/>
          <pc:sldMk cId="1227111822" sldId="2147479192"/>
        </pc:sldMkLst>
      </pc:sldChg>
      <pc:sldChg chg="modSp mod">
        <pc:chgData name="Oscar Llorente Gonzalez" userId="e1d48c7f-7de1-49f5-ba88-07a54202ac7d" providerId="ADAL" clId="{2EB597FE-FE2E-47C9-86A5-2D441B3829E4}" dt="2024-02-08T10:59:36.025" v="443"/>
        <pc:sldMkLst>
          <pc:docMk/>
          <pc:sldMk cId="46647062" sldId="2147479193"/>
        </pc:sldMkLst>
      </pc:sldChg>
      <pc:sldChg chg="del">
        <pc:chgData name="Oscar Llorente Gonzalez" userId="e1d48c7f-7de1-49f5-ba88-07a54202ac7d" providerId="ADAL" clId="{2EB597FE-FE2E-47C9-86A5-2D441B3829E4}" dt="2024-02-08T10:53:27.549" v="130" actId="47"/>
        <pc:sldMkLst>
          <pc:docMk/>
          <pc:sldMk cId="624504898" sldId="2147479454"/>
        </pc:sldMkLst>
      </pc:sldChg>
      <pc:sldChg chg="del">
        <pc:chgData name="Oscar Llorente Gonzalez" userId="e1d48c7f-7de1-49f5-ba88-07a54202ac7d" providerId="ADAL" clId="{2EB597FE-FE2E-47C9-86A5-2D441B3829E4}" dt="2024-02-08T10:53:31.696" v="135" actId="47"/>
        <pc:sldMkLst>
          <pc:docMk/>
          <pc:sldMk cId="1627335658" sldId="2147479490"/>
        </pc:sldMkLst>
      </pc:sldChg>
      <pc:sldChg chg="del">
        <pc:chgData name="Oscar Llorente Gonzalez" userId="e1d48c7f-7de1-49f5-ba88-07a54202ac7d" providerId="ADAL" clId="{2EB597FE-FE2E-47C9-86A5-2D441B3829E4}" dt="2024-02-08T10:53:36.960" v="140" actId="47"/>
        <pc:sldMkLst>
          <pc:docMk/>
          <pc:sldMk cId="4244552098" sldId="2147479491"/>
        </pc:sldMkLst>
      </pc:sldChg>
      <pc:sldChg chg="del">
        <pc:chgData name="Oscar Llorente Gonzalez" userId="e1d48c7f-7de1-49f5-ba88-07a54202ac7d" providerId="ADAL" clId="{2EB597FE-FE2E-47C9-86A5-2D441B3829E4}" dt="2024-02-08T10:53:38.806" v="143" actId="47"/>
        <pc:sldMkLst>
          <pc:docMk/>
          <pc:sldMk cId="3477777712" sldId="2147479492"/>
        </pc:sldMkLst>
      </pc:sldChg>
      <pc:sldChg chg="del">
        <pc:chgData name="Oscar Llorente Gonzalez" userId="e1d48c7f-7de1-49f5-ba88-07a54202ac7d" providerId="ADAL" clId="{2EB597FE-FE2E-47C9-86A5-2D441B3829E4}" dt="2024-02-08T10:53:39.456" v="144" actId="47"/>
        <pc:sldMkLst>
          <pc:docMk/>
          <pc:sldMk cId="1594342864" sldId="2147479493"/>
        </pc:sldMkLst>
      </pc:sldChg>
      <pc:sldChg chg="del ord">
        <pc:chgData name="Oscar Llorente Gonzalez" userId="e1d48c7f-7de1-49f5-ba88-07a54202ac7d" providerId="ADAL" clId="{2EB597FE-FE2E-47C9-86A5-2D441B3829E4}" dt="2024-02-08T11:03:47.106" v="518" actId="47"/>
        <pc:sldMkLst>
          <pc:docMk/>
          <pc:sldMk cId="1046278069" sldId="2147479494"/>
        </pc:sldMkLst>
      </pc:sldChg>
      <pc:sldChg chg="del">
        <pc:chgData name="Oscar Llorente Gonzalez" userId="e1d48c7f-7de1-49f5-ba88-07a54202ac7d" providerId="ADAL" clId="{2EB597FE-FE2E-47C9-86A5-2D441B3829E4}" dt="2024-02-08T10:54:57.615" v="211" actId="47"/>
        <pc:sldMkLst>
          <pc:docMk/>
          <pc:sldMk cId="2921247362" sldId="2147479495"/>
        </pc:sldMkLst>
      </pc:sldChg>
      <pc:sldChg chg="del">
        <pc:chgData name="Oscar Llorente Gonzalez" userId="e1d48c7f-7de1-49f5-ba88-07a54202ac7d" providerId="ADAL" clId="{2EB597FE-FE2E-47C9-86A5-2D441B3829E4}" dt="2024-02-08T10:53:48.311" v="148" actId="47"/>
        <pc:sldMkLst>
          <pc:docMk/>
          <pc:sldMk cId="2447576259" sldId="2147479497"/>
        </pc:sldMkLst>
      </pc:sldChg>
      <pc:sldChg chg="ord">
        <pc:chgData name="Oscar Llorente Gonzalez" userId="e1d48c7f-7de1-49f5-ba88-07a54202ac7d" providerId="ADAL" clId="{2EB597FE-FE2E-47C9-86A5-2D441B3829E4}" dt="2024-02-08T10:53:53.760" v="152"/>
        <pc:sldMkLst>
          <pc:docMk/>
          <pc:sldMk cId="2453484934" sldId="2147479498"/>
        </pc:sldMkLst>
      </pc:sldChg>
      <pc:sldChg chg="del">
        <pc:chgData name="Oscar Llorente Gonzalez" userId="e1d48c7f-7de1-49f5-ba88-07a54202ac7d" providerId="ADAL" clId="{2EB597FE-FE2E-47C9-86A5-2D441B3829E4}" dt="2024-02-08T10:53:25.910" v="128" actId="47"/>
        <pc:sldMkLst>
          <pc:docMk/>
          <pc:sldMk cId="1202315257" sldId="2147479501"/>
        </pc:sldMkLst>
      </pc:sldChg>
      <pc:sldChg chg="del">
        <pc:chgData name="Oscar Llorente Gonzalez" userId="e1d48c7f-7de1-49f5-ba88-07a54202ac7d" providerId="ADAL" clId="{2EB597FE-FE2E-47C9-86A5-2D441B3829E4}" dt="2024-02-08T10:57:55.115" v="310" actId="2696"/>
        <pc:sldMkLst>
          <pc:docMk/>
          <pc:sldMk cId="2286114330" sldId="2147479503"/>
        </pc:sldMkLst>
      </pc:sldChg>
      <pc:sldChg chg="del">
        <pc:chgData name="Oscar Llorente Gonzalez" userId="e1d48c7f-7de1-49f5-ba88-07a54202ac7d" providerId="ADAL" clId="{2EB597FE-FE2E-47C9-86A5-2D441B3829E4}" dt="2024-02-08T10:53:29.791" v="132" actId="47"/>
        <pc:sldMkLst>
          <pc:docMk/>
          <pc:sldMk cId="4106844089" sldId="2147479504"/>
        </pc:sldMkLst>
      </pc:sldChg>
      <pc:sldChg chg="modSp mod">
        <pc:chgData name="Oscar Llorente Gonzalez" userId="e1d48c7f-7de1-49f5-ba88-07a54202ac7d" providerId="ADAL" clId="{2EB597FE-FE2E-47C9-86A5-2D441B3829E4}" dt="2024-02-08T10:54:41.375" v="208" actId="20577"/>
        <pc:sldMkLst>
          <pc:docMk/>
          <pc:sldMk cId="1508270735" sldId="2147479505"/>
        </pc:sldMkLst>
      </pc:sldChg>
      <pc:sldChg chg="ord">
        <pc:chgData name="Oscar Llorente Gonzalez" userId="e1d48c7f-7de1-49f5-ba88-07a54202ac7d" providerId="ADAL" clId="{2EB597FE-FE2E-47C9-86A5-2D441B3829E4}" dt="2024-02-08T10:53:52.313" v="150"/>
        <pc:sldMkLst>
          <pc:docMk/>
          <pc:sldMk cId="1410135881" sldId="2147479506"/>
        </pc:sldMkLst>
      </pc:sldChg>
      <pc:sldChg chg="ord">
        <pc:chgData name="Oscar Llorente Gonzalez" userId="e1d48c7f-7de1-49f5-ba88-07a54202ac7d" providerId="ADAL" clId="{2EB597FE-FE2E-47C9-86A5-2D441B3829E4}" dt="2024-02-08T10:53:59.068" v="154"/>
        <pc:sldMkLst>
          <pc:docMk/>
          <pc:sldMk cId="1288778451" sldId="2147479507"/>
        </pc:sldMkLst>
      </pc:sldChg>
      <pc:sldChg chg="ord">
        <pc:chgData name="Oscar Llorente Gonzalez" userId="e1d48c7f-7de1-49f5-ba88-07a54202ac7d" providerId="ADAL" clId="{2EB597FE-FE2E-47C9-86A5-2D441B3829E4}" dt="2024-02-08T10:54:01.489" v="158"/>
        <pc:sldMkLst>
          <pc:docMk/>
          <pc:sldMk cId="2329968910" sldId="2147479508"/>
        </pc:sldMkLst>
      </pc:sldChg>
      <pc:sldChg chg="ord">
        <pc:chgData name="Oscar Llorente Gonzalez" userId="e1d48c7f-7de1-49f5-ba88-07a54202ac7d" providerId="ADAL" clId="{2EB597FE-FE2E-47C9-86A5-2D441B3829E4}" dt="2024-02-08T10:54:00.353" v="156"/>
        <pc:sldMkLst>
          <pc:docMk/>
          <pc:sldMk cId="2427112225" sldId="2147479509"/>
        </pc:sldMkLst>
      </pc:sldChg>
      <pc:sldChg chg="del">
        <pc:chgData name="Oscar Llorente Gonzalez" userId="e1d48c7f-7de1-49f5-ba88-07a54202ac7d" providerId="ADAL" clId="{2EB597FE-FE2E-47C9-86A5-2D441B3829E4}" dt="2024-02-08T10:53:28.146" v="131" actId="47"/>
        <pc:sldMkLst>
          <pc:docMk/>
          <pc:sldMk cId="654174997" sldId="2147479768"/>
        </pc:sldMkLst>
      </pc:sldChg>
      <pc:sldChg chg="del">
        <pc:chgData name="Oscar Llorente Gonzalez" userId="e1d48c7f-7de1-49f5-ba88-07a54202ac7d" providerId="ADAL" clId="{2EB597FE-FE2E-47C9-86A5-2D441B3829E4}" dt="2024-02-08T10:53:26.624" v="129" actId="47"/>
        <pc:sldMkLst>
          <pc:docMk/>
          <pc:sldMk cId="2851781940" sldId="2147479795"/>
        </pc:sldMkLst>
      </pc:sldChg>
      <pc:sldChg chg="ord">
        <pc:chgData name="Oscar Llorente Gonzalez" userId="e1d48c7f-7de1-49f5-ba88-07a54202ac7d" providerId="ADAL" clId="{2EB597FE-FE2E-47C9-86A5-2D441B3829E4}" dt="2024-02-08T10:54:11.608" v="160"/>
        <pc:sldMkLst>
          <pc:docMk/>
          <pc:sldMk cId="2088336728" sldId="2147479796"/>
        </pc:sldMkLst>
      </pc:sldChg>
      <pc:sldMasterChg chg="addSp delSp modSp mod delSldLayout modSldLayout">
        <pc:chgData name="Oscar Llorente Gonzalez" userId="e1d48c7f-7de1-49f5-ba88-07a54202ac7d" providerId="ADAL" clId="{2EB597FE-FE2E-47C9-86A5-2D441B3829E4}" dt="2024-02-08T11:15:35.862" v="856" actId="14100"/>
        <pc:sldMasterMkLst>
          <pc:docMk/>
          <pc:sldMasterMk cId="2523064765" sldId="2147483660"/>
        </pc:sldMasterMkLst>
        <pc:sldLayoutChg chg="delSp modSp mod">
          <pc:chgData name="Oscar Llorente Gonzalez" userId="e1d48c7f-7de1-49f5-ba88-07a54202ac7d" providerId="ADAL" clId="{2EB597FE-FE2E-47C9-86A5-2D441B3829E4}" dt="2024-02-08T11:00:49.917" v="448" actId="478"/>
          <pc:sldLayoutMkLst>
            <pc:docMk/>
            <pc:sldMasterMk cId="2523064765" sldId="2147483660"/>
            <pc:sldLayoutMk cId="675883818" sldId="2147483675"/>
          </pc:sldLayoutMkLst>
        </pc:sldLayoutChg>
        <pc:sldLayoutChg chg="modSp mod">
          <pc:chgData name="Oscar Llorente Gonzalez" userId="e1d48c7f-7de1-49f5-ba88-07a54202ac7d" providerId="ADAL" clId="{2EB597FE-FE2E-47C9-86A5-2D441B3829E4}" dt="2024-02-08T11:09:53.494" v="718" actId="20577"/>
          <pc:sldLayoutMkLst>
            <pc:docMk/>
            <pc:sldMasterMk cId="2523064765" sldId="2147483660"/>
            <pc:sldLayoutMk cId="2275899235" sldId="2147483678"/>
          </pc:sldLayoutMkLst>
        </pc:sldLayoutChg>
        <pc:sldLayoutChg chg="modSp mod">
          <pc:chgData name="Oscar Llorente Gonzalez" userId="e1d48c7f-7de1-49f5-ba88-07a54202ac7d" providerId="ADAL" clId="{2EB597FE-FE2E-47C9-86A5-2D441B3829E4}" dt="2024-02-08T11:09:53.513" v="726" actId="20577"/>
          <pc:sldLayoutMkLst>
            <pc:docMk/>
            <pc:sldMasterMk cId="2523064765" sldId="2147483660"/>
            <pc:sldLayoutMk cId="1436988196" sldId="2147483681"/>
          </pc:sldLayoutMkLst>
        </pc:sldLayoutChg>
        <pc:sldLayoutChg chg="modSp mod">
          <pc:chgData name="Oscar Llorente Gonzalez" userId="e1d48c7f-7de1-49f5-ba88-07a54202ac7d" providerId="ADAL" clId="{2EB597FE-FE2E-47C9-86A5-2D441B3829E4}" dt="2024-02-08T11:09:53.497" v="722" actId="20577"/>
          <pc:sldLayoutMkLst>
            <pc:docMk/>
            <pc:sldMasterMk cId="2523064765" sldId="2147483660"/>
            <pc:sldLayoutMk cId="2548612008" sldId="2147483690"/>
          </pc:sldLayoutMkLst>
        </pc:sldLayoutChg>
        <pc:sldLayoutChg chg="delSp modSp mod">
          <pc:chgData name="Oscar Llorente Gonzalez" userId="e1d48c7f-7de1-49f5-ba88-07a54202ac7d" providerId="ADAL" clId="{2EB597FE-FE2E-47C9-86A5-2D441B3829E4}" dt="2024-02-08T11:00:52.123" v="449" actId="478"/>
          <pc:sldLayoutMkLst>
            <pc:docMk/>
            <pc:sldMasterMk cId="2523064765" sldId="2147483660"/>
            <pc:sldLayoutMk cId="3545725332" sldId="2147483696"/>
          </pc:sldLayoutMkLst>
        </pc:sldLayoutChg>
        <pc:sldLayoutChg chg="delSp modSp mod">
          <pc:chgData name="Oscar Llorente Gonzalez" userId="e1d48c7f-7de1-49f5-ba88-07a54202ac7d" providerId="ADAL" clId="{2EB597FE-FE2E-47C9-86A5-2D441B3829E4}" dt="2024-02-08T11:00:41.859" v="446" actId="478"/>
          <pc:sldLayoutMkLst>
            <pc:docMk/>
            <pc:sldMasterMk cId="2523064765" sldId="2147483660"/>
            <pc:sldLayoutMk cId="395415313" sldId="2147483707"/>
          </pc:sldLayoutMkLst>
        </pc:sldLayoutChg>
        <pc:sldLayoutChg chg="delSp modSp mod">
          <pc:chgData name="Oscar Llorente Gonzalez" userId="e1d48c7f-7de1-49f5-ba88-07a54202ac7d" providerId="ADAL" clId="{2EB597FE-FE2E-47C9-86A5-2D441B3829E4}" dt="2024-02-08T11:00:45.445" v="447" actId="478"/>
          <pc:sldLayoutMkLst>
            <pc:docMk/>
            <pc:sldMasterMk cId="2523064765" sldId="2147483660"/>
            <pc:sldLayoutMk cId="3084474769" sldId="2147483709"/>
          </pc:sldLayoutMkLst>
        </pc:sldLayoutChg>
        <pc:sldLayoutChg chg="del">
          <pc:chgData name="Oscar Llorente Gonzalez" userId="e1d48c7f-7de1-49f5-ba88-07a54202ac7d" providerId="ADAL" clId="{2EB597FE-FE2E-47C9-86A5-2D441B3829E4}" dt="2024-02-08T10:53:28.146" v="131" actId="47"/>
          <pc:sldLayoutMkLst>
            <pc:docMk/>
            <pc:sldMasterMk cId="2523064765" sldId="2147483660"/>
            <pc:sldLayoutMk cId="2926417899" sldId="2147483873"/>
          </pc:sldLayoutMkLst>
        </pc:sldLayoutChg>
      </pc:sldMasterChg>
      <pc:sldMasterChg chg="delSp modSp mod delSldLayout modSldLayout">
        <pc:chgData name="Oscar Llorente Gonzalez" userId="e1d48c7f-7de1-49f5-ba88-07a54202ac7d" providerId="ADAL" clId="{2EB597FE-FE2E-47C9-86A5-2D441B3829E4}" dt="2024-02-08T11:09:53.542" v="730" actId="20577"/>
        <pc:sldMasterMkLst>
          <pc:docMk/>
          <pc:sldMasterMk cId="4061182373" sldId="2147483765"/>
        </pc:sldMasterMkLst>
        <pc:sldLayoutChg chg="addSp delSp modSp mod">
          <pc:chgData name="Oscar Llorente Gonzalez" userId="e1d48c7f-7de1-49f5-ba88-07a54202ac7d" providerId="ADAL" clId="{2EB597FE-FE2E-47C9-86A5-2D441B3829E4}" dt="2024-02-08T11:01:20.507" v="455" actId="478"/>
          <pc:sldLayoutMkLst>
            <pc:docMk/>
            <pc:sldMasterMk cId="4061182373" sldId="2147483765"/>
            <pc:sldLayoutMk cId="2458328145" sldId="2147483775"/>
          </pc:sldLayoutMkLst>
        </pc:sldLayoutChg>
        <pc:sldLayoutChg chg="delSp modSp mod">
          <pc:chgData name="Oscar Llorente Gonzalez" userId="e1d48c7f-7de1-49f5-ba88-07a54202ac7d" providerId="ADAL" clId="{2EB597FE-FE2E-47C9-86A5-2D441B3829E4}" dt="2024-02-08T11:01:03.160" v="451" actId="478"/>
          <pc:sldLayoutMkLst>
            <pc:docMk/>
            <pc:sldMasterMk cId="4061182373" sldId="2147483765"/>
            <pc:sldLayoutMk cId="2991321209" sldId="2147483776"/>
          </pc:sldLayoutMkLst>
        </pc:sldLayoutChg>
        <pc:sldLayoutChg chg="delSp modSp mod">
          <pc:chgData name="Oscar Llorente Gonzalez" userId="e1d48c7f-7de1-49f5-ba88-07a54202ac7d" providerId="ADAL" clId="{2EB597FE-FE2E-47C9-86A5-2D441B3829E4}" dt="2024-02-08T11:01:10.350" v="452" actId="478"/>
          <pc:sldLayoutMkLst>
            <pc:docMk/>
            <pc:sldMasterMk cId="4061182373" sldId="2147483765"/>
            <pc:sldLayoutMk cId="515948995" sldId="2147483777"/>
          </pc:sldLayoutMkLst>
        </pc:sldLayoutChg>
        <pc:sldLayoutChg chg="modSp mod">
          <pc:chgData name="Oscar Llorente Gonzalez" userId="e1d48c7f-7de1-49f5-ba88-07a54202ac7d" providerId="ADAL" clId="{2EB597FE-FE2E-47C9-86A5-2D441B3829E4}" dt="2024-02-08T11:09:53.542" v="730" actId="20577"/>
          <pc:sldLayoutMkLst>
            <pc:docMk/>
            <pc:sldMasterMk cId="4061182373" sldId="2147483765"/>
            <pc:sldLayoutMk cId="1967283423" sldId="2147483779"/>
          </pc:sldLayoutMkLst>
        </pc:sldLayoutChg>
        <pc:sldLayoutChg chg="delSp modSp mod">
          <pc:chgData name="Oscar Llorente Gonzalez" userId="e1d48c7f-7de1-49f5-ba88-07a54202ac7d" providerId="ADAL" clId="{2EB597FE-FE2E-47C9-86A5-2D441B3829E4}" dt="2024-02-08T11:01:26.785" v="456" actId="478"/>
          <pc:sldLayoutMkLst>
            <pc:docMk/>
            <pc:sldMasterMk cId="4061182373" sldId="2147483765"/>
            <pc:sldLayoutMk cId="1092349489" sldId="2147483782"/>
          </pc:sldLayoutMkLst>
        </pc:sldLayoutChg>
        <pc:sldLayoutChg chg="delSp modSp mod">
          <pc:chgData name="Oscar Llorente Gonzalez" userId="e1d48c7f-7de1-49f5-ba88-07a54202ac7d" providerId="ADAL" clId="{2EB597FE-FE2E-47C9-86A5-2D441B3829E4}" dt="2024-02-08T11:01:41.259" v="457" actId="478"/>
          <pc:sldLayoutMkLst>
            <pc:docMk/>
            <pc:sldMasterMk cId="4061182373" sldId="2147483765"/>
            <pc:sldLayoutMk cId="3518373976" sldId="2147483801"/>
          </pc:sldLayoutMkLst>
        </pc:sldLayoutChg>
        <pc:sldLayoutChg chg="delSp modSp mod">
          <pc:chgData name="Oscar Llorente Gonzalez" userId="e1d48c7f-7de1-49f5-ba88-07a54202ac7d" providerId="ADAL" clId="{2EB597FE-FE2E-47C9-86A5-2D441B3829E4}" dt="2024-02-08T11:01:47.218" v="458" actId="478"/>
          <pc:sldLayoutMkLst>
            <pc:docMk/>
            <pc:sldMasterMk cId="4061182373" sldId="2147483765"/>
            <pc:sldLayoutMk cId="1623742912" sldId="2147483802"/>
          </pc:sldLayoutMkLst>
        </pc:sldLayoutChg>
        <pc:sldLayoutChg chg="modSp del mod">
          <pc:chgData name="Oscar Llorente Gonzalez" userId="e1d48c7f-7de1-49f5-ba88-07a54202ac7d" providerId="ADAL" clId="{2EB597FE-FE2E-47C9-86A5-2D441B3829E4}" dt="2024-02-08T11:01:57.988" v="459" actId="2696"/>
          <pc:sldLayoutMkLst>
            <pc:docMk/>
            <pc:sldMasterMk cId="4061182373" sldId="2147483765"/>
            <pc:sldLayoutMk cId="1461235300" sldId="2147483821"/>
          </pc:sldLayoutMkLst>
        </pc:sldLayoutChg>
        <pc:sldLayoutChg chg="modSp del mod">
          <pc:chgData name="Oscar Llorente Gonzalez" userId="e1d48c7f-7de1-49f5-ba88-07a54202ac7d" providerId="ADAL" clId="{2EB597FE-FE2E-47C9-86A5-2D441B3829E4}" dt="2024-02-08T11:02:00.234" v="460" actId="2696"/>
          <pc:sldLayoutMkLst>
            <pc:docMk/>
            <pc:sldMasterMk cId="4061182373" sldId="2147483765"/>
            <pc:sldLayoutMk cId="2881847180" sldId="2147483822"/>
          </pc:sldLayoutMkLst>
        </pc:sldLayoutChg>
        <pc:sldLayoutChg chg="modSp del mod">
          <pc:chgData name="Oscar Llorente Gonzalez" userId="e1d48c7f-7de1-49f5-ba88-07a54202ac7d" providerId="ADAL" clId="{2EB597FE-FE2E-47C9-86A5-2D441B3829E4}" dt="2024-02-08T11:02:02.921" v="461" actId="2696"/>
          <pc:sldLayoutMkLst>
            <pc:docMk/>
            <pc:sldMasterMk cId="4061182373" sldId="2147483765"/>
            <pc:sldLayoutMk cId="19749786" sldId="2147483823"/>
          </pc:sldLayoutMkLst>
        </pc:sldLayoutChg>
        <pc:sldLayoutChg chg="modSp del mod">
          <pc:chgData name="Oscar Llorente Gonzalez" userId="e1d48c7f-7de1-49f5-ba88-07a54202ac7d" providerId="ADAL" clId="{2EB597FE-FE2E-47C9-86A5-2D441B3829E4}" dt="2024-02-08T11:02:11.557" v="462" actId="2696"/>
          <pc:sldLayoutMkLst>
            <pc:docMk/>
            <pc:sldMasterMk cId="4061182373" sldId="2147483765"/>
            <pc:sldLayoutMk cId="2795526763" sldId="2147483824"/>
          </pc:sldLayoutMkLst>
        </pc:sldLayoutChg>
        <pc:sldLayoutChg chg="modSp del mod">
          <pc:chgData name="Oscar Llorente Gonzalez" userId="e1d48c7f-7de1-49f5-ba88-07a54202ac7d" providerId="ADAL" clId="{2EB597FE-FE2E-47C9-86A5-2D441B3829E4}" dt="2024-02-08T11:02:13.535" v="463" actId="2696"/>
          <pc:sldLayoutMkLst>
            <pc:docMk/>
            <pc:sldMasterMk cId="4061182373" sldId="2147483765"/>
            <pc:sldLayoutMk cId="186073884" sldId="2147483825"/>
          </pc:sldLayoutMkLst>
        </pc:sldLayoutChg>
        <pc:sldLayoutChg chg="modSp del mod">
          <pc:chgData name="Oscar Llorente Gonzalez" userId="e1d48c7f-7de1-49f5-ba88-07a54202ac7d" providerId="ADAL" clId="{2EB597FE-FE2E-47C9-86A5-2D441B3829E4}" dt="2024-02-08T11:02:14.946" v="464" actId="2696"/>
          <pc:sldLayoutMkLst>
            <pc:docMk/>
            <pc:sldMasterMk cId="4061182373" sldId="2147483765"/>
            <pc:sldLayoutMk cId="3364640623" sldId="2147483826"/>
          </pc:sldLayoutMkLst>
        </pc:sldLayoutChg>
        <pc:sldLayoutChg chg="modSp del mod">
          <pc:chgData name="Oscar Llorente Gonzalez" userId="e1d48c7f-7de1-49f5-ba88-07a54202ac7d" providerId="ADAL" clId="{2EB597FE-FE2E-47C9-86A5-2D441B3829E4}" dt="2024-02-08T11:02:26.048" v="472" actId="2696"/>
          <pc:sldLayoutMkLst>
            <pc:docMk/>
            <pc:sldMasterMk cId="4061182373" sldId="2147483765"/>
            <pc:sldLayoutMk cId="442173529" sldId="2147483827"/>
          </pc:sldLayoutMkLst>
        </pc:sldLayoutChg>
        <pc:sldLayoutChg chg="modSp del mod">
          <pc:chgData name="Oscar Llorente Gonzalez" userId="e1d48c7f-7de1-49f5-ba88-07a54202ac7d" providerId="ADAL" clId="{2EB597FE-FE2E-47C9-86A5-2D441B3829E4}" dt="2024-02-08T11:02:24.526" v="471" actId="2696"/>
          <pc:sldLayoutMkLst>
            <pc:docMk/>
            <pc:sldMasterMk cId="4061182373" sldId="2147483765"/>
            <pc:sldLayoutMk cId="3245256019" sldId="2147483828"/>
          </pc:sldLayoutMkLst>
        </pc:sldLayoutChg>
        <pc:sldLayoutChg chg="modSp del mod">
          <pc:chgData name="Oscar Llorente Gonzalez" userId="e1d48c7f-7de1-49f5-ba88-07a54202ac7d" providerId="ADAL" clId="{2EB597FE-FE2E-47C9-86A5-2D441B3829E4}" dt="2024-02-08T11:02:21.486" v="468" actId="2696"/>
          <pc:sldLayoutMkLst>
            <pc:docMk/>
            <pc:sldMasterMk cId="4061182373" sldId="2147483765"/>
            <pc:sldLayoutMk cId="740314404" sldId="2147483829"/>
          </pc:sldLayoutMkLst>
        </pc:sldLayoutChg>
        <pc:sldLayoutChg chg="modSp del mod">
          <pc:chgData name="Oscar Llorente Gonzalez" userId="e1d48c7f-7de1-49f5-ba88-07a54202ac7d" providerId="ADAL" clId="{2EB597FE-FE2E-47C9-86A5-2D441B3829E4}" dt="2024-02-08T11:02:23.605" v="470" actId="2696"/>
          <pc:sldLayoutMkLst>
            <pc:docMk/>
            <pc:sldMasterMk cId="4061182373" sldId="2147483765"/>
            <pc:sldLayoutMk cId="3035770219" sldId="2147483830"/>
          </pc:sldLayoutMkLst>
        </pc:sldLayoutChg>
        <pc:sldLayoutChg chg="modSp del mod">
          <pc:chgData name="Oscar Llorente Gonzalez" userId="e1d48c7f-7de1-49f5-ba88-07a54202ac7d" providerId="ADAL" clId="{2EB597FE-FE2E-47C9-86A5-2D441B3829E4}" dt="2024-02-08T11:02:22.514" v="469" actId="2696"/>
          <pc:sldLayoutMkLst>
            <pc:docMk/>
            <pc:sldMasterMk cId="4061182373" sldId="2147483765"/>
            <pc:sldLayoutMk cId="2372352142" sldId="2147483831"/>
          </pc:sldLayoutMkLst>
        </pc:sldLayoutChg>
        <pc:sldLayoutChg chg="modSp del mod">
          <pc:chgData name="Oscar Llorente Gonzalez" userId="e1d48c7f-7de1-49f5-ba88-07a54202ac7d" providerId="ADAL" clId="{2EB597FE-FE2E-47C9-86A5-2D441B3829E4}" dt="2024-02-08T11:02:17.367" v="465" actId="2696"/>
          <pc:sldLayoutMkLst>
            <pc:docMk/>
            <pc:sldMasterMk cId="4061182373" sldId="2147483765"/>
            <pc:sldLayoutMk cId="980170257" sldId="2147483832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17.976" v="466" actId="2696"/>
          <pc:sldLayoutMkLst>
            <pc:docMk/>
            <pc:sldMasterMk cId="4061182373" sldId="2147483765"/>
            <pc:sldLayoutMk cId="2557852971" sldId="2147483833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18.608" v="467" actId="2696"/>
          <pc:sldLayoutMkLst>
            <pc:docMk/>
            <pc:sldMasterMk cId="4061182373" sldId="2147483765"/>
            <pc:sldLayoutMk cId="1438140178" sldId="2147483834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41.638" v="501" actId="2696"/>
          <pc:sldLayoutMkLst>
            <pc:docMk/>
            <pc:sldMasterMk cId="4061182373" sldId="2147483765"/>
            <pc:sldLayoutMk cId="4103964436" sldId="2147483844"/>
          </pc:sldLayoutMkLst>
        </pc:sldLayoutChg>
        <pc:sldLayoutChg chg="modSp del mod">
          <pc:chgData name="Oscar Llorente Gonzalez" userId="e1d48c7f-7de1-49f5-ba88-07a54202ac7d" providerId="ADAL" clId="{2EB597FE-FE2E-47C9-86A5-2D441B3829E4}" dt="2024-02-08T11:02:30.968" v="473" actId="2696"/>
          <pc:sldLayoutMkLst>
            <pc:docMk/>
            <pc:sldMasterMk cId="4061182373" sldId="2147483765"/>
            <pc:sldLayoutMk cId="3249480313" sldId="2147483845"/>
          </pc:sldLayoutMkLst>
        </pc:sldLayoutChg>
        <pc:sldLayoutChg chg="modSp del mod">
          <pc:chgData name="Oscar Llorente Gonzalez" userId="e1d48c7f-7de1-49f5-ba88-07a54202ac7d" providerId="ADAL" clId="{2EB597FE-FE2E-47C9-86A5-2D441B3829E4}" dt="2024-02-08T11:02:31.933" v="474" actId="2696"/>
          <pc:sldLayoutMkLst>
            <pc:docMk/>
            <pc:sldMasterMk cId="4061182373" sldId="2147483765"/>
            <pc:sldLayoutMk cId="4078751501" sldId="2147483846"/>
          </pc:sldLayoutMkLst>
        </pc:sldLayoutChg>
        <pc:sldLayoutChg chg="modSp del mod">
          <pc:chgData name="Oscar Llorente Gonzalez" userId="e1d48c7f-7de1-49f5-ba88-07a54202ac7d" providerId="ADAL" clId="{2EB597FE-FE2E-47C9-86A5-2D441B3829E4}" dt="2024-02-08T11:02:32.749" v="475" actId="2696"/>
          <pc:sldLayoutMkLst>
            <pc:docMk/>
            <pc:sldMasterMk cId="4061182373" sldId="2147483765"/>
            <pc:sldLayoutMk cId="3981605940" sldId="2147483847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3.250" v="476" actId="2696"/>
          <pc:sldLayoutMkLst>
            <pc:docMk/>
            <pc:sldMasterMk cId="4061182373" sldId="2147483765"/>
            <pc:sldLayoutMk cId="1171644051" sldId="2147483848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3.594" v="477" actId="2696"/>
          <pc:sldLayoutMkLst>
            <pc:docMk/>
            <pc:sldMasterMk cId="4061182373" sldId="2147483765"/>
            <pc:sldLayoutMk cId="3155076956" sldId="2147483849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3.853" v="478" actId="2696"/>
          <pc:sldLayoutMkLst>
            <pc:docMk/>
            <pc:sldMasterMk cId="4061182373" sldId="2147483765"/>
            <pc:sldLayoutMk cId="516334993" sldId="2147483850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4.071" v="479" actId="2696"/>
          <pc:sldLayoutMkLst>
            <pc:docMk/>
            <pc:sldMasterMk cId="4061182373" sldId="2147483765"/>
            <pc:sldLayoutMk cId="3363984336" sldId="2147483851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4.287" v="480" actId="2696"/>
          <pc:sldLayoutMkLst>
            <pc:docMk/>
            <pc:sldMasterMk cId="4061182373" sldId="2147483765"/>
            <pc:sldLayoutMk cId="853091462" sldId="2147483852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4.502" v="481" actId="2696"/>
          <pc:sldLayoutMkLst>
            <pc:docMk/>
            <pc:sldMasterMk cId="4061182373" sldId="2147483765"/>
            <pc:sldLayoutMk cId="3856994411" sldId="2147483853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4.694" v="482" actId="2696"/>
          <pc:sldLayoutMkLst>
            <pc:docMk/>
            <pc:sldMasterMk cId="4061182373" sldId="2147483765"/>
            <pc:sldLayoutMk cId="3641836738" sldId="2147483854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4.891" v="483" actId="2696"/>
          <pc:sldLayoutMkLst>
            <pc:docMk/>
            <pc:sldMasterMk cId="4061182373" sldId="2147483765"/>
            <pc:sldLayoutMk cId="1690406819" sldId="2147483855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5.103" v="484" actId="2696"/>
          <pc:sldLayoutMkLst>
            <pc:docMk/>
            <pc:sldMasterMk cId="4061182373" sldId="2147483765"/>
            <pc:sldLayoutMk cId="3322942048" sldId="2147483856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5.298" v="485" actId="2696"/>
          <pc:sldLayoutMkLst>
            <pc:docMk/>
            <pc:sldMasterMk cId="4061182373" sldId="2147483765"/>
            <pc:sldLayoutMk cId="852776316" sldId="2147483857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5.503" v="486" actId="2696"/>
          <pc:sldLayoutMkLst>
            <pc:docMk/>
            <pc:sldMasterMk cId="4061182373" sldId="2147483765"/>
            <pc:sldLayoutMk cId="52547963" sldId="2147483858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5.697" v="487" actId="2696"/>
          <pc:sldLayoutMkLst>
            <pc:docMk/>
            <pc:sldMasterMk cId="4061182373" sldId="2147483765"/>
            <pc:sldLayoutMk cId="3040586616" sldId="2147483859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5.894" v="488" actId="2696"/>
          <pc:sldLayoutMkLst>
            <pc:docMk/>
            <pc:sldMasterMk cId="4061182373" sldId="2147483765"/>
            <pc:sldLayoutMk cId="2410126974" sldId="2147483860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6.087" v="489" actId="2696"/>
          <pc:sldLayoutMkLst>
            <pc:docMk/>
            <pc:sldMasterMk cId="4061182373" sldId="2147483765"/>
            <pc:sldLayoutMk cId="2418271629" sldId="2147483861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6.289" v="490" actId="2696"/>
          <pc:sldLayoutMkLst>
            <pc:docMk/>
            <pc:sldMasterMk cId="4061182373" sldId="2147483765"/>
            <pc:sldLayoutMk cId="2172461952" sldId="2147483862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6.526" v="491" actId="2696"/>
          <pc:sldLayoutMkLst>
            <pc:docMk/>
            <pc:sldMasterMk cId="4061182373" sldId="2147483765"/>
            <pc:sldLayoutMk cId="1470362008" sldId="2147483863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6.677" v="492" actId="2696"/>
          <pc:sldLayoutMkLst>
            <pc:docMk/>
            <pc:sldMasterMk cId="4061182373" sldId="2147483765"/>
            <pc:sldLayoutMk cId="847468963" sldId="2147483864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6.857" v="493" actId="2696"/>
          <pc:sldLayoutMkLst>
            <pc:docMk/>
            <pc:sldMasterMk cId="4061182373" sldId="2147483765"/>
            <pc:sldLayoutMk cId="1740555098" sldId="2147483865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7.041" v="494" actId="2696"/>
          <pc:sldLayoutMkLst>
            <pc:docMk/>
            <pc:sldMasterMk cId="4061182373" sldId="2147483765"/>
            <pc:sldLayoutMk cId="3624302369" sldId="2147483866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7.255" v="495" actId="2696"/>
          <pc:sldLayoutMkLst>
            <pc:docMk/>
            <pc:sldMasterMk cId="4061182373" sldId="2147483765"/>
            <pc:sldLayoutMk cId="3086097264" sldId="2147483867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7.439" v="496" actId="2696"/>
          <pc:sldLayoutMkLst>
            <pc:docMk/>
            <pc:sldMasterMk cId="4061182373" sldId="2147483765"/>
            <pc:sldLayoutMk cId="1568623073" sldId="2147483868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7.618" v="497" actId="2696"/>
          <pc:sldLayoutMkLst>
            <pc:docMk/>
            <pc:sldMasterMk cId="4061182373" sldId="2147483765"/>
            <pc:sldLayoutMk cId="2997662545" sldId="2147483869"/>
          </pc:sldLayoutMkLst>
        </pc:sldLayoutChg>
        <pc:sldLayoutChg chg="modSp del mod">
          <pc:chgData name="Oscar Llorente Gonzalez" userId="e1d48c7f-7de1-49f5-ba88-07a54202ac7d" providerId="ADAL" clId="{2EB597FE-FE2E-47C9-86A5-2D441B3829E4}" dt="2024-02-08T11:02:38.446" v="498" actId="2696"/>
          <pc:sldLayoutMkLst>
            <pc:docMk/>
            <pc:sldMasterMk cId="4061182373" sldId="2147483765"/>
            <pc:sldLayoutMk cId="3709990802" sldId="2147483870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8.757" v="499" actId="2696"/>
          <pc:sldLayoutMkLst>
            <pc:docMk/>
            <pc:sldMasterMk cId="4061182373" sldId="2147483765"/>
            <pc:sldLayoutMk cId="384908182" sldId="2147483871"/>
          </pc:sldLayoutMkLst>
        </pc:sldLayoutChg>
        <pc:sldLayoutChg chg="del">
          <pc:chgData name="Oscar Llorente Gonzalez" userId="e1d48c7f-7de1-49f5-ba88-07a54202ac7d" providerId="ADAL" clId="{2EB597FE-FE2E-47C9-86A5-2D441B3829E4}" dt="2024-02-08T11:02:39.348" v="500" actId="2696"/>
          <pc:sldLayoutMkLst>
            <pc:docMk/>
            <pc:sldMasterMk cId="4061182373" sldId="2147483765"/>
            <pc:sldLayoutMk cId="4177019301" sldId="2147483872"/>
          </pc:sldLayoutMkLst>
        </pc:sldLayoutChg>
      </pc:sldMasterChg>
    </pc:docChg>
  </pc:docChgLst>
  <pc:docChgLst>
    <pc:chgData name="Oscar Llorente Gonzalez" userId="e1d48c7f-7de1-49f5-ba88-07a54202ac7d" providerId="ADAL" clId="{F37813CC-6907-4F4D-B15A-1E0D0E480B20}"/>
    <pc:docChg chg="undo custSel addSld delSld modSld sldOrd modSection">
      <pc:chgData name="Oscar Llorente Gonzalez" userId="e1d48c7f-7de1-49f5-ba88-07a54202ac7d" providerId="ADAL" clId="{F37813CC-6907-4F4D-B15A-1E0D0E480B20}" dt="2025-02-20T16:27:17.600" v="1240" actId="1076"/>
      <pc:docMkLst>
        <pc:docMk/>
      </pc:docMkLst>
      <pc:sldChg chg="add del">
        <pc:chgData name="Oscar Llorente Gonzalez" userId="e1d48c7f-7de1-49f5-ba88-07a54202ac7d" providerId="ADAL" clId="{F37813CC-6907-4F4D-B15A-1E0D0E480B20}" dt="2025-02-18T09:27:35.685" v="315" actId="47"/>
        <pc:sldMkLst>
          <pc:docMk/>
          <pc:sldMk cId="4020115620" sldId="272"/>
        </pc:sldMkLst>
      </pc:sldChg>
      <pc:sldChg chg="add del">
        <pc:chgData name="Oscar Llorente Gonzalez" userId="e1d48c7f-7de1-49f5-ba88-07a54202ac7d" providerId="ADAL" clId="{F37813CC-6907-4F4D-B15A-1E0D0E480B20}" dt="2025-02-18T09:26:16.526" v="276" actId="47"/>
        <pc:sldMkLst>
          <pc:docMk/>
          <pc:sldMk cId="1271550209" sldId="1448943270"/>
        </pc:sldMkLst>
      </pc:sldChg>
      <pc:sldChg chg="add del">
        <pc:chgData name="Oscar Llorente Gonzalez" userId="e1d48c7f-7de1-49f5-ba88-07a54202ac7d" providerId="ADAL" clId="{F37813CC-6907-4F4D-B15A-1E0D0E480B20}" dt="2025-02-18T09:29:00.429" v="356" actId="47"/>
        <pc:sldMkLst>
          <pc:docMk/>
          <pc:sldMk cId="231722402" sldId="1448943272"/>
        </pc:sldMkLst>
      </pc:sldChg>
      <pc:sldChg chg="addSp modSp add ord">
        <pc:chgData name="Oscar Llorente Gonzalez" userId="e1d48c7f-7de1-49f5-ba88-07a54202ac7d" providerId="ADAL" clId="{F37813CC-6907-4F4D-B15A-1E0D0E480B20}" dt="2025-02-18T09:29:40.284" v="359"/>
        <pc:sldMkLst>
          <pc:docMk/>
          <pc:sldMk cId="2472580893" sldId="1448943273"/>
        </pc:sldMkLst>
      </pc:sldChg>
      <pc:sldChg chg="modSp mod">
        <pc:chgData name="Oscar Llorente Gonzalez" userId="e1d48c7f-7de1-49f5-ba88-07a54202ac7d" providerId="ADAL" clId="{F37813CC-6907-4F4D-B15A-1E0D0E480B20}" dt="2025-02-18T15:55:30.157" v="707" actId="14100"/>
        <pc:sldMkLst>
          <pc:docMk/>
          <pc:sldMk cId="46647062" sldId="2147479193"/>
        </pc:sldMkLst>
      </pc:sldChg>
      <pc:sldChg chg="del">
        <pc:chgData name="Oscar Llorente Gonzalez" userId="e1d48c7f-7de1-49f5-ba88-07a54202ac7d" providerId="ADAL" clId="{F37813CC-6907-4F4D-B15A-1E0D0E480B20}" dt="2025-02-18T08:59:40.665" v="117" actId="47"/>
        <pc:sldMkLst>
          <pc:docMk/>
          <pc:sldMk cId="1646425188" sldId="2147479822"/>
        </pc:sldMkLst>
      </pc:sldChg>
      <pc:sldChg chg="addSp delSp modSp mod">
        <pc:chgData name="Oscar Llorente Gonzalez" userId="e1d48c7f-7de1-49f5-ba88-07a54202ac7d" providerId="ADAL" clId="{F37813CC-6907-4F4D-B15A-1E0D0E480B20}" dt="2025-02-18T09:00:17.499" v="139" actId="1076"/>
        <pc:sldMkLst>
          <pc:docMk/>
          <pc:sldMk cId="349078831" sldId="2147479823"/>
        </pc:sldMkLst>
      </pc:sldChg>
      <pc:sldChg chg="addSp delSp modSp new mod ord">
        <pc:chgData name="Oscar Llorente Gonzalez" userId="e1d48c7f-7de1-49f5-ba88-07a54202ac7d" providerId="ADAL" clId="{F37813CC-6907-4F4D-B15A-1E0D0E480B20}" dt="2025-02-18T15:53:55.648" v="577" actId="790"/>
        <pc:sldMkLst>
          <pc:docMk/>
          <pc:sldMk cId="2504933933" sldId="2147479824"/>
        </pc:sldMkLst>
      </pc:sldChg>
      <pc:sldChg chg="addSp delSp modSp new mod">
        <pc:chgData name="Oscar Llorente Gonzalez" userId="e1d48c7f-7de1-49f5-ba88-07a54202ac7d" providerId="ADAL" clId="{F37813CC-6907-4F4D-B15A-1E0D0E480B20}" dt="2025-02-18T09:17:59.735" v="215" actId="790"/>
        <pc:sldMkLst>
          <pc:docMk/>
          <pc:sldMk cId="927779489" sldId="2147479825"/>
        </pc:sldMkLst>
      </pc:sldChg>
      <pc:sldChg chg="addSp delSp modSp new mod ord">
        <pc:chgData name="Oscar Llorente Gonzalez" userId="e1d48c7f-7de1-49f5-ba88-07a54202ac7d" providerId="ADAL" clId="{F37813CC-6907-4F4D-B15A-1E0D0E480B20}" dt="2025-02-18T09:23:57.871" v="234" actId="1076"/>
        <pc:sldMkLst>
          <pc:docMk/>
          <pc:sldMk cId="2640841549" sldId="2147479826"/>
        </pc:sldMkLst>
      </pc:sldChg>
      <pc:sldChg chg="addSp delSp modSp new del mod">
        <pc:chgData name="Oscar Llorente Gonzalez" userId="e1d48c7f-7de1-49f5-ba88-07a54202ac7d" providerId="ADAL" clId="{F37813CC-6907-4F4D-B15A-1E0D0E480B20}" dt="2025-02-18T09:29:02.774" v="357" actId="47"/>
        <pc:sldMkLst>
          <pc:docMk/>
          <pc:sldMk cId="3299592854" sldId="2147479827"/>
        </pc:sldMkLst>
      </pc:sldChg>
      <pc:sldChg chg="addSp delSp modSp new mod modAnim">
        <pc:chgData name="Oscar Llorente Gonzalez" userId="e1d48c7f-7de1-49f5-ba88-07a54202ac7d" providerId="ADAL" clId="{F37813CC-6907-4F4D-B15A-1E0D0E480B20}" dt="2025-02-18T09:27:31.657" v="312" actId="1076"/>
        <pc:sldMkLst>
          <pc:docMk/>
          <pc:sldMk cId="3265116380" sldId="2147479828"/>
        </pc:sldMkLst>
      </pc:sldChg>
      <pc:sldChg chg="new del">
        <pc:chgData name="Oscar Llorente Gonzalez" userId="e1d48c7f-7de1-49f5-ba88-07a54202ac7d" providerId="ADAL" clId="{F37813CC-6907-4F4D-B15A-1E0D0E480B20}" dt="2025-02-18T09:26:17.371" v="277" actId="47"/>
        <pc:sldMkLst>
          <pc:docMk/>
          <pc:sldMk cId="1954524225" sldId="2147479829"/>
        </pc:sldMkLst>
      </pc:sldChg>
      <pc:sldChg chg="addSp delSp modSp new mod ord">
        <pc:chgData name="Oscar Llorente Gonzalez" userId="e1d48c7f-7de1-49f5-ba88-07a54202ac7d" providerId="ADAL" clId="{F37813CC-6907-4F4D-B15A-1E0D0E480B20}" dt="2025-02-18T15:54:29.507" v="623" actId="790"/>
        <pc:sldMkLst>
          <pc:docMk/>
          <pc:sldMk cId="2735342000" sldId="2147479830"/>
        </pc:sldMkLst>
      </pc:sldChg>
      <pc:sldChg chg="addSp delSp modSp new mod">
        <pc:chgData name="Oscar Llorente Gonzalez" userId="e1d48c7f-7de1-49f5-ba88-07a54202ac7d" providerId="ADAL" clId="{F37813CC-6907-4F4D-B15A-1E0D0E480B20}" dt="2025-02-19T22:05:16.722" v="749" actId="20577"/>
        <pc:sldMkLst>
          <pc:docMk/>
          <pc:sldMk cId="308179650" sldId="2147479831"/>
        </pc:sldMkLst>
      </pc:sldChg>
      <pc:sldChg chg="addSp delSp modSp new mod">
        <pc:chgData name="Oscar Llorente Gonzalez" userId="e1d48c7f-7de1-49f5-ba88-07a54202ac7d" providerId="ADAL" clId="{F37813CC-6907-4F4D-B15A-1E0D0E480B20}" dt="2025-02-20T14:15:37.566" v="1072" actId="790"/>
        <pc:sldMkLst>
          <pc:docMk/>
          <pc:sldMk cId="206420167" sldId="2147479832"/>
        </pc:sldMkLst>
      </pc:sldChg>
      <pc:sldChg chg="addSp delSp modSp new mod ord">
        <pc:chgData name="Oscar Llorente Gonzalez" userId="e1d48c7f-7de1-49f5-ba88-07a54202ac7d" providerId="ADAL" clId="{F37813CC-6907-4F4D-B15A-1E0D0E480B20}" dt="2025-02-20T10:52:35.761" v="781" actId="20577"/>
        <pc:sldMkLst>
          <pc:docMk/>
          <pc:sldMk cId="2764360597" sldId="2147479833"/>
        </pc:sldMkLst>
      </pc:sldChg>
      <pc:sldChg chg="modSp new mod">
        <pc:chgData name="Oscar Llorente Gonzalez" userId="e1d48c7f-7de1-49f5-ba88-07a54202ac7d" providerId="ADAL" clId="{F37813CC-6907-4F4D-B15A-1E0D0E480B20}" dt="2025-02-18T15:52:51.463" v="481"/>
        <pc:sldMkLst>
          <pc:docMk/>
          <pc:sldMk cId="3142548179" sldId="2147479834"/>
        </pc:sldMkLst>
      </pc:sldChg>
      <pc:sldChg chg="addSp delSp modSp new mod ord">
        <pc:chgData name="Oscar Llorente Gonzalez" userId="e1d48c7f-7de1-49f5-ba88-07a54202ac7d" providerId="ADAL" clId="{F37813CC-6907-4F4D-B15A-1E0D0E480B20}" dt="2025-02-20T14:04:02.701" v="951"/>
        <pc:sldMkLst>
          <pc:docMk/>
          <pc:sldMk cId="1570847427" sldId="2147479835"/>
        </pc:sldMkLst>
      </pc:sldChg>
      <pc:sldChg chg="new del">
        <pc:chgData name="Oscar Llorente Gonzalez" userId="e1d48c7f-7de1-49f5-ba88-07a54202ac7d" providerId="ADAL" clId="{F37813CC-6907-4F4D-B15A-1E0D0E480B20}" dt="2025-02-19T22:02:44.204" v="709" actId="680"/>
        <pc:sldMkLst>
          <pc:docMk/>
          <pc:sldMk cId="2671291613" sldId="2147479835"/>
        </pc:sldMkLst>
      </pc:sldChg>
      <pc:sldChg chg="addSp delSp modSp new mod">
        <pc:chgData name="Oscar Llorente Gonzalez" userId="e1d48c7f-7de1-49f5-ba88-07a54202ac7d" providerId="ADAL" clId="{F37813CC-6907-4F4D-B15A-1E0D0E480B20}" dt="2025-02-20T16:27:17.600" v="1240" actId="1076"/>
        <pc:sldMkLst>
          <pc:docMk/>
          <pc:sldMk cId="721471011" sldId="2147479836"/>
        </pc:sldMkLst>
      </pc:sldChg>
      <pc:sldChg chg="addSp delSp modSp new mod ord">
        <pc:chgData name="Oscar Llorente Gonzalez" userId="e1d48c7f-7de1-49f5-ba88-07a54202ac7d" providerId="ADAL" clId="{F37813CC-6907-4F4D-B15A-1E0D0E480B20}" dt="2025-02-20T14:15:10.093" v="1070" actId="1076"/>
        <pc:sldMkLst>
          <pc:docMk/>
          <pc:sldMk cId="4232699703" sldId="2147479837"/>
        </pc:sldMkLst>
      </pc:sldChg>
      <pc:sldChg chg="addSp delSp modSp new mod">
        <pc:chgData name="Oscar Llorente Gonzalez" userId="e1d48c7f-7de1-49f5-ba88-07a54202ac7d" providerId="ADAL" clId="{F37813CC-6907-4F4D-B15A-1E0D0E480B20}" dt="2025-02-20T14:15:16.329" v="1071" actId="1076"/>
        <pc:sldMkLst>
          <pc:docMk/>
          <pc:sldMk cId="1503827115" sldId="2147479838"/>
        </pc:sldMkLst>
      </pc:sldChg>
      <pc:sldChg chg="addSp delSp modSp new mod">
        <pc:chgData name="Oscar Llorente Gonzalez" userId="e1d48c7f-7de1-49f5-ba88-07a54202ac7d" providerId="ADAL" clId="{F37813CC-6907-4F4D-B15A-1E0D0E480B20}" dt="2025-02-20T14:06:14.831" v="960" actId="1076"/>
        <pc:sldMkLst>
          <pc:docMk/>
          <pc:sldMk cId="3834283447" sldId="2147479839"/>
        </pc:sldMkLst>
      </pc:sldChg>
      <pc:sldChg chg="addSp delSp modSp new mod ord">
        <pc:chgData name="Oscar Llorente Gonzalez" userId="e1d48c7f-7de1-49f5-ba88-07a54202ac7d" providerId="ADAL" clId="{F37813CC-6907-4F4D-B15A-1E0D0E480B20}" dt="2025-02-20T14:11:23.969" v="1049"/>
        <pc:sldMkLst>
          <pc:docMk/>
          <pc:sldMk cId="973587080" sldId="2147479840"/>
        </pc:sldMkLst>
      </pc:sldChg>
      <pc:sldChg chg="addSp delSp modSp new mod">
        <pc:chgData name="Oscar Llorente Gonzalez" userId="e1d48c7f-7de1-49f5-ba88-07a54202ac7d" providerId="ADAL" clId="{F37813CC-6907-4F4D-B15A-1E0D0E480B20}" dt="2025-02-20T14:09:15.295" v="1008" actId="1076"/>
        <pc:sldMkLst>
          <pc:docMk/>
          <pc:sldMk cId="2708139774" sldId="2147479841"/>
        </pc:sldMkLst>
      </pc:sldChg>
      <pc:sldChg chg="addSp delSp modSp new mod ord">
        <pc:chgData name="Oscar Llorente Gonzalez" userId="e1d48c7f-7de1-49f5-ba88-07a54202ac7d" providerId="ADAL" clId="{F37813CC-6907-4F4D-B15A-1E0D0E480B20}" dt="2025-02-20T14:20:55.447" v="1178" actId="404"/>
        <pc:sldMkLst>
          <pc:docMk/>
          <pc:sldMk cId="2055846759" sldId="2147479842"/>
        </pc:sldMkLst>
      </pc:sldChg>
      <pc:sldChg chg="new del">
        <pc:chgData name="Oscar Llorente Gonzalez" userId="e1d48c7f-7de1-49f5-ba88-07a54202ac7d" providerId="ADAL" clId="{F37813CC-6907-4F4D-B15A-1E0D0E480B20}" dt="2025-02-20T14:09:28.344" v="1010" actId="47"/>
        <pc:sldMkLst>
          <pc:docMk/>
          <pc:sldMk cId="3731103044" sldId="2147479842"/>
        </pc:sldMkLst>
      </pc:sldChg>
      <pc:sldChg chg="addSp delSp modSp new mod">
        <pc:chgData name="Oscar Llorente Gonzalez" userId="e1d48c7f-7de1-49f5-ba88-07a54202ac7d" providerId="ADAL" clId="{F37813CC-6907-4F4D-B15A-1E0D0E480B20}" dt="2025-02-20T14:25:51.596" v="1234" actId="20577"/>
        <pc:sldMkLst>
          <pc:docMk/>
          <pc:sldMk cId="2508278326" sldId="2147479843"/>
        </pc:sldMkLst>
      </pc:sldChg>
      <pc:sldMasterChg chg="delSldLayout">
        <pc:chgData name="Oscar Llorente Gonzalez" userId="e1d48c7f-7de1-49f5-ba88-07a54202ac7d" providerId="ADAL" clId="{F37813CC-6907-4F4D-B15A-1E0D0E480B20}" dt="2025-02-18T09:29:00.429" v="356" actId="47"/>
        <pc:sldMasterMkLst>
          <pc:docMk/>
          <pc:sldMasterMk cId="2523064765" sldId="2147483660"/>
        </pc:sldMasterMkLst>
        <pc:sldLayoutChg chg="del">
          <pc:chgData name="Oscar Llorente Gonzalez" userId="e1d48c7f-7de1-49f5-ba88-07a54202ac7d" providerId="ADAL" clId="{F37813CC-6907-4F4D-B15A-1E0D0E480B20}" dt="2025-02-18T09:26:17.371" v="277" actId="47"/>
          <pc:sldLayoutMkLst>
            <pc:docMk/>
            <pc:sldMasterMk cId="2523064765" sldId="2147483660"/>
            <pc:sldLayoutMk cId="2234813305" sldId="2147483845"/>
          </pc:sldLayoutMkLst>
        </pc:sldLayoutChg>
        <pc:sldLayoutChg chg="del">
          <pc:chgData name="Oscar Llorente Gonzalez" userId="e1d48c7f-7de1-49f5-ba88-07a54202ac7d" providerId="ADAL" clId="{F37813CC-6907-4F4D-B15A-1E0D0E480B20}" dt="2025-02-18T09:27:35.685" v="315" actId="47"/>
          <pc:sldLayoutMkLst>
            <pc:docMk/>
            <pc:sldMasterMk cId="2523064765" sldId="2147483660"/>
            <pc:sldLayoutMk cId="3438367586" sldId="2147483845"/>
          </pc:sldLayoutMkLst>
        </pc:sldLayoutChg>
        <pc:sldLayoutChg chg="del">
          <pc:chgData name="Oscar Llorente Gonzalez" userId="e1d48c7f-7de1-49f5-ba88-07a54202ac7d" providerId="ADAL" clId="{F37813CC-6907-4F4D-B15A-1E0D0E480B20}" dt="2025-02-18T09:29:00.429" v="356" actId="47"/>
          <pc:sldLayoutMkLst>
            <pc:docMk/>
            <pc:sldMasterMk cId="2523064765" sldId="2147483660"/>
            <pc:sldLayoutMk cId="4169243497" sldId="2147483845"/>
          </pc:sldLayoutMkLst>
        </pc:sldLayoutChg>
      </pc:sldMasterChg>
    </pc:docChg>
  </pc:docChgLst>
  <pc:docChgLst>
    <pc:chgData name="Oscar Llorente Gonzalez" userId="e1d48c7f-7de1-49f5-ba88-07a54202ac7d" providerId="ADAL" clId="{B322E4E1-5FEE-4CD4-9AF1-3DF7A064646B}"/>
    <pc:docChg chg="custSel addSld delSld modSld modMainMaster modSection">
      <pc:chgData name="Oscar Llorente Gonzalez" userId="e1d48c7f-7de1-49f5-ba88-07a54202ac7d" providerId="ADAL" clId="{B322E4E1-5FEE-4CD4-9AF1-3DF7A064646B}" dt="2024-02-08T12:05:50.094" v="54" actId="20577"/>
      <pc:docMkLst>
        <pc:docMk/>
      </pc:docMkLst>
      <pc:sldChg chg="modSp mod">
        <pc:chgData name="Oscar Llorente Gonzalez" userId="e1d48c7f-7de1-49f5-ba88-07a54202ac7d" providerId="ADAL" clId="{B322E4E1-5FEE-4CD4-9AF1-3DF7A064646B}" dt="2024-02-08T11:19:33.130" v="28" actId="20577"/>
        <pc:sldMkLst>
          <pc:docMk/>
          <pc:sldMk cId="46647062" sldId="2147479193"/>
        </pc:sldMkLst>
      </pc:sldChg>
      <pc:sldChg chg="del">
        <pc:chgData name="Oscar Llorente Gonzalez" userId="e1d48c7f-7de1-49f5-ba88-07a54202ac7d" providerId="ADAL" clId="{B322E4E1-5FEE-4CD4-9AF1-3DF7A064646B}" dt="2024-02-08T11:20:18.063" v="35" actId="47"/>
        <pc:sldMkLst>
          <pc:docMk/>
          <pc:sldMk cId="456826536" sldId="2147479496"/>
        </pc:sldMkLst>
      </pc:sldChg>
      <pc:sldChg chg="del">
        <pc:chgData name="Oscar Llorente Gonzalez" userId="e1d48c7f-7de1-49f5-ba88-07a54202ac7d" providerId="ADAL" clId="{B322E4E1-5FEE-4CD4-9AF1-3DF7A064646B}" dt="2024-02-08T11:20:16.962" v="31" actId="47"/>
        <pc:sldMkLst>
          <pc:docMk/>
          <pc:sldMk cId="2453484934" sldId="2147479498"/>
        </pc:sldMkLst>
      </pc:sldChg>
      <pc:sldChg chg="del">
        <pc:chgData name="Oscar Llorente Gonzalez" userId="e1d48c7f-7de1-49f5-ba88-07a54202ac7d" providerId="ADAL" clId="{B322E4E1-5FEE-4CD4-9AF1-3DF7A064646B}" dt="2024-02-08T11:19:41.033" v="29" actId="47"/>
        <pc:sldMkLst>
          <pc:docMk/>
          <pc:sldMk cId="1766832716" sldId="2147479499"/>
        </pc:sldMkLst>
      </pc:sldChg>
      <pc:sldChg chg="del">
        <pc:chgData name="Oscar Llorente Gonzalez" userId="e1d48c7f-7de1-49f5-ba88-07a54202ac7d" providerId="ADAL" clId="{B322E4E1-5FEE-4CD4-9AF1-3DF7A064646B}" dt="2024-02-08T11:20:25.956" v="38" actId="47"/>
        <pc:sldMkLst>
          <pc:docMk/>
          <pc:sldMk cId="1508270735" sldId="2147479505"/>
        </pc:sldMkLst>
      </pc:sldChg>
      <pc:sldChg chg="del">
        <pc:chgData name="Oscar Llorente Gonzalez" userId="e1d48c7f-7de1-49f5-ba88-07a54202ac7d" providerId="ADAL" clId="{B322E4E1-5FEE-4CD4-9AF1-3DF7A064646B}" dt="2024-02-08T11:19:41.965" v="30" actId="47"/>
        <pc:sldMkLst>
          <pc:docMk/>
          <pc:sldMk cId="1410135881" sldId="2147479506"/>
        </pc:sldMkLst>
      </pc:sldChg>
      <pc:sldChg chg="del">
        <pc:chgData name="Oscar Llorente Gonzalez" userId="e1d48c7f-7de1-49f5-ba88-07a54202ac7d" providerId="ADAL" clId="{B322E4E1-5FEE-4CD4-9AF1-3DF7A064646B}" dt="2024-02-08T11:20:17.145" v="32" actId="47"/>
        <pc:sldMkLst>
          <pc:docMk/>
          <pc:sldMk cId="1288778451" sldId="2147479507"/>
        </pc:sldMkLst>
      </pc:sldChg>
      <pc:sldChg chg="del">
        <pc:chgData name="Oscar Llorente Gonzalez" userId="e1d48c7f-7de1-49f5-ba88-07a54202ac7d" providerId="ADAL" clId="{B322E4E1-5FEE-4CD4-9AF1-3DF7A064646B}" dt="2024-02-08T11:20:17.869" v="34" actId="47"/>
        <pc:sldMkLst>
          <pc:docMk/>
          <pc:sldMk cId="2329968910" sldId="2147479508"/>
        </pc:sldMkLst>
      </pc:sldChg>
      <pc:sldChg chg="del">
        <pc:chgData name="Oscar Llorente Gonzalez" userId="e1d48c7f-7de1-49f5-ba88-07a54202ac7d" providerId="ADAL" clId="{B322E4E1-5FEE-4CD4-9AF1-3DF7A064646B}" dt="2024-02-08T11:20:17.330" v="33" actId="47"/>
        <pc:sldMkLst>
          <pc:docMk/>
          <pc:sldMk cId="2427112225" sldId="2147479509"/>
        </pc:sldMkLst>
      </pc:sldChg>
      <pc:sldChg chg="del">
        <pc:chgData name="Oscar Llorente Gonzalez" userId="e1d48c7f-7de1-49f5-ba88-07a54202ac7d" providerId="ADAL" clId="{B322E4E1-5FEE-4CD4-9AF1-3DF7A064646B}" dt="2024-02-08T11:20:19.148" v="36" actId="47"/>
        <pc:sldMkLst>
          <pc:docMk/>
          <pc:sldMk cId="2088336728" sldId="2147479796"/>
        </pc:sldMkLst>
      </pc:sldChg>
      <pc:sldChg chg="new">
        <pc:chgData name="Oscar Llorente Gonzalez" userId="e1d48c7f-7de1-49f5-ba88-07a54202ac7d" providerId="ADAL" clId="{B322E4E1-5FEE-4CD4-9AF1-3DF7A064646B}" dt="2024-02-08T11:20:20.999" v="37" actId="680"/>
        <pc:sldMkLst>
          <pc:docMk/>
          <pc:sldMk cId="4062506516" sldId="2147479798"/>
        </pc:sldMkLst>
      </pc:sldChg>
      <pc:sldMasterChg chg="modSldLayout">
        <pc:chgData name="Oscar Llorente Gonzalez" userId="e1d48c7f-7de1-49f5-ba88-07a54202ac7d" providerId="ADAL" clId="{B322E4E1-5FEE-4CD4-9AF1-3DF7A064646B}" dt="2024-02-08T12:05:50.061" v="50" actId="20577"/>
        <pc:sldMasterMkLst>
          <pc:docMk/>
          <pc:sldMasterMk cId="2523064765" sldId="2147483660"/>
        </pc:sldMasterMkLst>
        <pc:sldLayoutChg chg="modSp mod">
          <pc:chgData name="Oscar Llorente Gonzalez" userId="e1d48c7f-7de1-49f5-ba88-07a54202ac7d" providerId="ADAL" clId="{B322E4E1-5FEE-4CD4-9AF1-3DF7A064646B}" dt="2024-02-08T12:05:50.043" v="42" actId="20577"/>
          <pc:sldLayoutMkLst>
            <pc:docMk/>
            <pc:sldMasterMk cId="2523064765" sldId="2147483660"/>
            <pc:sldLayoutMk cId="2275899235" sldId="2147483678"/>
          </pc:sldLayoutMkLst>
        </pc:sldLayoutChg>
        <pc:sldLayoutChg chg="modSp mod">
          <pc:chgData name="Oscar Llorente Gonzalez" userId="e1d48c7f-7de1-49f5-ba88-07a54202ac7d" providerId="ADAL" clId="{B322E4E1-5FEE-4CD4-9AF1-3DF7A064646B}" dt="2024-02-08T12:05:50.061" v="50" actId="20577"/>
          <pc:sldLayoutMkLst>
            <pc:docMk/>
            <pc:sldMasterMk cId="2523064765" sldId="2147483660"/>
            <pc:sldLayoutMk cId="1436988196" sldId="2147483681"/>
          </pc:sldLayoutMkLst>
        </pc:sldLayoutChg>
        <pc:sldLayoutChg chg="modSp mod">
          <pc:chgData name="Oscar Llorente Gonzalez" userId="e1d48c7f-7de1-49f5-ba88-07a54202ac7d" providerId="ADAL" clId="{B322E4E1-5FEE-4CD4-9AF1-3DF7A064646B}" dt="2024-02-08T12:05:50.053" v="46" actId="20577"/>
          <pc:sldLayoutMkLst>
            <pc:docMk/>
            <pc:sldMasterMk cId="2523064765" sldId="2147483660"/>
            <pc:sldLayoutMk cId="2548612008" sldId="2147483690"/>
          </pc:sldLayoutMkLst>
        </pc:sldLayoutChg>
      </pc:sldMasterChg>
      <pc:sldMasterChg chg="modSldLayout">
        <pc:chgData name="Oscar Llorente Gonzalez" userId="e1d48c7f-7de1-49f5-ba88-07a54202ac7d" providerId="ADAL" clId="{B322E4E1-5FEE-4CD4-9AF1-3DF7A064646B}" dt="2024-02-08T12:05:50.094" v="54" actId="20577"/>
        <pc:sldMasterMkLst>
          <pc:docMk/>
          <pc:sldMasterMk cId="4061182373" sldId="2147483765"/>
        </pc:sldMasterMkLst>
        <pc:sldLayoutChg chg="modSp mod">
          <pc:chgData name="Oscar Llorente Gonzalez" userId="e1d48c7f-7de1-49f5-ba88-07a54202ac7d" providerId="ADAL" clId="{B322E4E1-5FEE-4CD4-9AF1-3DF7A064646B}" dt="2024-02-08T12:05:50.094" v="54" actId="20577"/>
          <pc:sldLayoutMkLst>
            <pc:docMk/>
            <pc:sldMasterMk cId="4061182373" sldId="2147483765"/>
            <pc:sldLayoutMk cId="1967283423" sldId="2147483779"/>
          </pc:sldLayoutMkLst>
        </pc:sldLayoutChg>
      </pc:sldMasterChg>
    </pc:docChg>
  </pc:docChgLst>
  <pc:docChgLst>
    <pc:chgData name="Oscar Llorente Gonzalez" userId="e1d48c7f-7de1-49f5-ba88-07a54202ac7d" providerId="ADAL" clId="{5A80F24B-A99F-4C5F-80FB-BB877AB3CE9A}"/>
    <pc:docChg chg="undo redo custSel addSld delSld modSld modMainMaster modSection">
      <pc:chgData name="Oscar Llorente Gonzalez" userId="e1d48c7f-7de1-49f5-ba88-07a54202ac7d" providerId="ADAL" clId="{5A80F24B-A99F-4C5F-80FB-BB877AB3CE9A}" dt="2024-07-26T12:52:14.378" v="2414" actId="20577"/>
      <pc:docMkLst>
        <pc:docMk/>
      </pc:docMkLst>
      <pc:sldChg chg="modSp add del">
        <pc:chgData name="Oscar Llorente Gonzalez" userId="e1d48c7f-7de1-49f5-ba88-07a54202ac7d" providerId="ADAL" clId="{5A80F24B-A99F-4C5F-80FB-BB877AB3CE9A}" dt="2024-07-26T12:30:03.054" v="1633" actId="47"/>
        <pc:sldMkLst>
          <pc:docMk/>
          <pc:sldMk cId="597653648" sldId="256"/>
        </pc:sldMkLst>
      </pc:sldChg>
      <pc:sldChg chg="modSp mod">
        <pc:chgData name="Oscar Llorente Gonzalez" userId="e1d48c7f-7de1-49f5-ba88-07a54202ac7d" providerId="ADAL" clId="{5A80F24B-A99F-4C5F-80FB-BB877AB3CE9A}" dt="2024-07-26T12:52:14.378" v="2414" actId="20577"/>
        <pc:sldMkLst>
          <pc:docMk/>
          <pc:sldMk cId="46647062" sldId="2147479193"/>
        </pc:sldMkLst>
      </pc:sldChg>
      <pc:sldChg chg="addSp delSp modSp mod">
        <pc:chgData name="Oscar Llorente Gonzalez" userId="e1d48c7f-7de1-49f5-ba88-07a54202ac7d" providerId="ADAL" clId="{5A80F24B-A99F-4C5F-80FB-BB877AB3CE9A}" dt="2024-07-20T15:22:08.494" v="141" actId="20577"/>
        <pc:sldMkLst>
          <pc:docMk/>
          <pc:sldMk cId="4062506516" sldId="2147479798"/>
        </pc:sldMkLst>
      </pc:sldChg>
      <pc:sldChg chg="new del">
        <pc:chgData name="Oscar Llorente Gonzalez" userId="e1d48c7f-7de1-49f5-ba88-07a54202ac7d" providerId="ADAL" clId="{5A80F24B-A99F-4C5F-80FB-BB877AB3CE9A}" dt="2024-07-26T12:30:21.302" v="1634" actId="47"/>
        <pc:sldMkLst>
          <pc:docMk/>
          <pc:sldMk cId="943983982" sldId="2147479799"/>
        </pc:sldMkLst>
      </pc:sldChg>
      <pc:sldChg chg="addSp delSp modSp add del mod">
        <pc:chgData name="Oscar Llorente Gonzalez" userId="e1d48c7f-7de1-49f5-ba88-07a54202ac7d" providerId="ADAL" clId="{5A80F24B-A99F-4C5F-80FB-BB877AB3CE9A}" dt="2024-07-26T12:36:35.482" v="1937" actId="47"/>
        <pc:sldMkLst>
          <pc:docMk/>
          <pc:sldMk cId="905362749" sldId="2147479806"/>
        </pc:sldMkLst>
      </pc:sldChg>
      <pc:sldChg chg="new del">
        <pc:chgData name="Oscar Llorente Gonzalez" userId="e1d48c7f-7de1-49f5-ba88-07a54202ac7d" providerId="ADAL" clId="{5A80F24B-A99F-4C5F-80FB-BB877AB3CE9A}" dt="2024-07-26T12:36:32.351" v="1935" actId="47"/>
        <pc:sldMkLst>
          <pc:docMk/>
          <pc:sldMk cId="2585229923" sldId="2147479807"/>
        </pc:sldMkLst>
      </pc:sldChg>
      <pc:sldChg chg="modSp add del mod">
        <pc:chgData name="Oscar Llorente Gonzalez" userId="e1d48c7f-7de1-49f5-ba88-07a54202ac7d" providerId="ADAL" clId="{5A80F24B-A99F-4C5F-80FB-BB877AB3CE9A}" dt="2024-07-26T12:36:33.966" v="1936" actId="47"/>
        <pc:sldMkLst>
          <pc:docMk/>
          <pc:sldMk cId="917250556" sldId="2147479808"/>
        </pc:sldMkLst>
      </pc:sldChg>
      <pc:sldChg chg="addSp delSp modSp add mod">
        <pc:chgData name="Oscar Llorente Gonzalez" userId="e1d48c7f-7de1-49f5-ba88-07a54202ac7d" providerId="ADAL" clId="{5A80F24B-A99F-4C5F-80FB-BB877AB3CE9A}" dt="2024-07-26T12:39:59.966" v="1956" actId="478"/>
        <pc:sldMkLst>
          <pc:docMk/>
          <pc:sldMk cId="1788028285" sldId="2147479809"/>
        </pc:sldMkLst>
      </pc:sldChg>
      <pc:sldChg chg="modSp add del">
        <pc:chgData name="Oscar Llorente Gonzalez" userId="e1d48c7f-7de1-49f5-ba88-07a54202ac7d" providerId="ADAL" clId="{5A80F24B-A99F-4C5F-80FB-BB877AB3CE9A}" dt="2024-07-26T12:36:31.002" v="1934" actId="47"/>
        <pc:sldMkLst>
          <pc:docMk/>
          <pc:sldMk cId="2721306" sldId="2147479810"/>
        </pc:sldMkLst>
      </pc:sldChg>
      <pc:sldChg chg="modSp add del">
        <pc:chgData name="Oscar Llorente Gonzalez" userId="e1d48c7f-7de1-49f5-ba88-07a54202ac7d" providerId="ADAL" clId="{5A80F24B-A99F-4C5F-80FB-BB877AB3CE9A}" dt="2024-07-26T12:28:55.370" v="1389" actId="47"/>
        <pc:sldMkLst>
          <pc:docMk/>
          <pc:sldMk cId="3175671722" sldId="2147479811"/>
        </pc:sldMkLst>
      </pc:sldChg>
      <pc:sldChg chg="delSp modSp add del mod">
        <pc:chgData name="Oscar Llorente Gonzalez" userId="e1d48c7f-7de1-49f5-ba88-07a54202ac7d" providerId="ADAL" clId="{5A80F24B-A99F-4C5F-80FB-BB877AB3CE9A}" dt="2024-07-26T12:29:14.453" v="1391" actId="47"/>
        <pc:sldMkLst>
          <pc:docMk/>
          <pc:sldMk cId="3553990078" sldId="2147479812"/>
        </pc:sldMkLst>
      </pc:sldChg>
      <pc:sldChg chg="modSp add del">
        <pc:chgData name="Oscar Llorente Gonzalez" userId="e1d48c7f-7de1-49f5-ba88-07a54202ac7d" providerId="ADAL" clId="{5A80F24B-A99F-4C5F-80FB-BB877AB3CE9A}" dt="2024-07-26T12:29:15.675" v="1392" actId="47"/>
        <pc:sldMkLst>
          <pc:docMk/>
          <pc:sldMk cId="3950853585" sldId="2147479813"/>
        </pc:sldMkLst>
      </pc:sldChg>
      <pc:sldChg chg="modSp add del">
        <pc:chgData name="Oscar Llorente Gonzalez" userId="e1d48c7f-7de1-49f5-ba88-07a54202ac7d" providerId="ADAL" clId="{5A80F24B-A99F-4C5F-80FB-BB877AB3CE9A}" dt="2024-07-26T12:29:17.107" v="1393" actId="47"/>
        <pc:sldMkLst>
          <pc:docMk/>
          <pc:sldMk cId="4107604320" sldId="2147479814"/>
        </pc:sldMkLst>
      </pc:sldChg>
      <pc:sldChg chg="modSp add del">
        <pc:chgData name="Oscar Llorente Gonzalez" userId="e1d48c7f-7de1-49f5-ba88-07a54202ac7d" providerId="ADAL" clId="{5A80F24B-A99F-4C5F-80FB-BB877AB3CE9A}" dt="2024-07-26T12:29:18.652" v="1394" actId="47"/>
        <pc:sldMkLst>
          <pc:docMk/>
          <pc:sldMk cId="1769842710" sldId="2147479815"/>
        </pc:sldMkLst>
      </pc:sldChg>
      <pc:sldChg chg="modSp add del">
        <pc:chgData name="Oscar Llorente Gonzalez" userId="e1d48c7f-7de1-49f5-ba88-07a54202ac7d" providerId="ADAL" clId="{5A80F24B-A99F-4C5F-80FB-BB877AB3CE9A}" dt="2024-07-26T12:29:19.861" v="1395" actId="47"/>
        <pc:sldMkLst>
          <pc:docMk/>
          <pc:sldMk cId="443693477" sldId="2147479816"/>
        </pc:sldMkLst>
      </pc:sldChg>
      <pc:sldChg chg="modSp add del mod">
        <pc:chgData name="Oscar Llorente Gonzalez" userId="e1d48c7f-7de1-49f5-ba88-07a54202ac7d" providerId="ADAL" clId="{5A80F24B-A99F-4C5F-80FB-BB877AB3CE9A}" dt="2024-07-26T12:29:21.266" v="1396" actId="47"/>
        <pc:sldMkLst>
          <pc:docMk/>
          <pc:sldMk cId="3636114367" sldId="2147479817"/>
        </pc:sldMkLst>
      </pc:sldChg>
      <pc:sldChg chg="add del">
        <pc:chgData name="Oscar Llorente Gonzalez" userId="e1d48c7f-7de1-49f5-ba88-07a54202ac7d" providerId="ADAL" clId="{5A80F24B-A99F-4C5F-80FB-BB877AB3CE9A}" dt="2024-07-26T12:27:52.129" v="1309" actId="47"/>
        <pc:sldMkLst>
          <pc:docMk/>
          <pc:sldMk cId="1323575805" sldId="2147479818"/>
        </pc:sldMkLst>
      </pc:sldChg>
      <pc:sldChg chg="modSp add mod">
        <pc:chgData name="Oscar Llorente Gonzalez" userId="e1d48c7f-7de1-49f5-ba88-07a54202ac7d" providerId="ADAL" clId="{5A80F24B-A99F-4C5F-80FB-BB877AB3CE9A}" dt="2024-07-26T12:35:13.311" v="1915" actId="20577"/>
        <pc:sldMkLst>
          <pc:docMk/>
          <pc:sldMk cId="1340164199" sldId="2147479819"/>
        </pc:sldMkLst>
      </pc:sldChg>
      <pc:sldChg chg="addSp modSp new mod">
        <pc:chgData name="Oscar Llorente Gonzalez" userId="e1d48c7f-7de1-49f5-ba88-07a54202ac7d" providerId="ADAL" clId="{5A80F24B-A99F-4C5F-80FB-BB877AB3CE9A}" dt="2024-07-26T12:46:02.499" v="2014" actId="1076"/>
        <pc:sldMkLst>
          <pc:docMk/>
          <pc:sldMk cId="3416463214" sldId="2147479820"/>
        </pc:sldMkLst>
      </pc:sldChg>
      <pc:sldChg chg="modSp add del mod">
        <pc:chgData name="Oscar Llorente Gonzalez" userId="e1d48c7f-7de1-49f5-ba88-07a54202ac7d" providerId="ADAL" clId="{5A80F24B-A99F-4C5F-80FB-BB877AB3CE9A}" dt="2024-07-26T12:30:00.411" v="1628" actId="47"/>
        <pc:sldMkLst>
          <pc:docMk/>
          <pc:sldMk cId="3502701790" sldId="2147479820"/>
        </pc:sldMkLst>
      </pc:sldChg>
      <pc:sldChg chg="modSp add del">
        <pc:chgData name="Oscar Llorente Gonzalez" userId="e1d48c7f-7de1-49f5-ba88-07a54202ac7d" providerId="ADAL" clId="{5A80F24B-A99F-4C5F-80FB-BB877AB3CE9A}" dt="2024-07-26T12:28:46.801" v="1388" actId="47"/>
        <pc:sldMkLst>
          <pc:docMk/>
          <pc:sldMk cId="3703526171" sldId="2147479820"/>
        </pc:sldMkLst>
      </pc:sldChg>
      <pc:sldChg chg="modSp add del mod">
        <pc:chgData name="Oscar Llorente Gonzalez" userId="e1d48c7f-7de1-49f5-ba88-07a54202ac7d" providerId="ADAL" clId="{5A80F24B-A99F-4C5F-80FB-BB877AB3CE9A}" dt="2024-07-26T12:30:00.657" v="1629" actId="47"/>
        <pc:sldMkLst>
          <pc:docMk/>
          <pc:sldMk cId="1329154011" sldId="2147479821"/>
        </pc:sldMkLst>
      </pc:sldChg>
      <pc:sldChg chg="modSp new del mod">
        <pc:chgData name="Oscar Llorente Gonzalez" userId="e1d48c7f-7de1-49f5-ba88-07a54202ac7d" providerId="ADAL" clId="{5A80F24B-A99F-4C5F-80FB-BB877AB3CE9A}" dt="2024-07-26T12:51:48.485" v="2405" actId="47"/>
        <pc:sldMkLst>
          <pc:docMk/>
          <pc:sldMk cId="2779079743" sldId="2147479821"/>
        </pc:sldMkLst>
      </pc:sldChg>
      <pc:sldChg chg="addSp delSp modSp new mod modClrScheme chgLayout">
        <pc:chgData name="Oscar Llorente Gonzalez" userId="e1d48c7f-7de1-49f5-ba88-07a54202ac7d" providerId="ADAL" clId="{5A80F24B-A99F-4C5F-80FB-BB877AB3CE9A}" dt="2024-07-26T12:52:03.767" v="2412" actId="20577"/>
        <pc:sldMkLst>
          <pc:docMk/>
          <pc:sldMk cId="1646425188" sldId="2147479822"/>
        </pc:sldMkLst>
      </pc:sldChg>
      <pc:sldChg chg="modSp add del mod">
        <pc:chgData name="Oscar Llorente Gonzalez" userId="e1d48c7f-7de1-49f5-ba88-07a54202ac7d" providerId="ADAL" clId="{5A80F24B-A99F-4C5F-80FB-BB877AB3CE9A}" dt="2024-07-26T12:30:01.149" v="1630" actId="47"/>
        <pc:sldMkLst>
          <pc:docMk/>
          <pc:sldMk cId="2428114657" sldId="2147479822"/>
        </pc:sldMkLst>
      </pc:sldChg>
      <pc:sldChg chg="modSp add del mod">
        <pc:chgData name="Oscar Llorente Gonzalez" userId="e1d48c7f-7de1-49f5-ba88-07a54202ac7d" providerId="ADAL" clId="{5A80F24B-A99F-4C5F-80FB-BB877AB3CE9A}" dt="2024-07-26T12:30:01.699" v="1631" actId="47"/>
        <pc:sldMkLst>
          <pc:docMk/>
          <pc:sldMk cId="4271123924" sldId="2147479823"/>
        </pc:sldMkLst>
      </pc:sldChg>
      <pc:sldChg chg="modSp add del mod">
        <pc:chgData name="Oscar Llorente Gonzalez" userId="e1d48c7f-7de1-49f5-ba88-07a54202ac7d" providerId="ADAL" clId="{5A80F24B-A99F-4C5F-80FB-BB877AB3CE9A}" dt="2024-07-26T12:30:02.368" v="1632" actId="47"/>
        <pc:sldMkLst>
          <pc:docMk/>
          <pc:sldMk cId="424221905" sldId="2147479824"/>
        </pc:sldMkLst>
      </pc:sldChg>
      <pc:sldMasterChg chg="modSldLayout">
        <pc:chgData name="Oscar Llorente Gonzalez" userId="e1d48c7f-7de1-49f5-ba88-07a54202ac7d" providerId="ADAL" clId="{5A80F24B-A99F-4C5F-80FB-BB877AB3CE9A}" dt="2024-07-26T12:29:45.564" v="1591" actId="20577"/>
        <pc:sldMasterMkLst>
          <pc:docMk/>
          <pc:sldMasterMk cId="2523064765" sldId="2147483660"/>
        </pc:sldMasterMkLst>
        <pc:sldLayoutChg chg="modSp mod">
          <pc:chgData name="Oscar Llorente Gonzalez" userId="e1d48c7f-7de1-49f5-ba88-07a54202ac7d" providerId="ADAL" clId="{5A80F24B-A99F-4C5F-80FB-BB877AB3CE9A}" dt="2024-07-26T12:29:45.539" v="1583" actId="20577"/>
          <pc:sldLayoutMkLst>
            <pc:docMk/>
            <pc:sldMasterMk cId="2523064765" sldId="2147483660"/>
            <pc:sldLayoutMk cId="2275899235" sldId="2147483678"/>
          </pc:sldLayoutMkLst>
        </pc:sldLayoutChg>
        <pc:sldLayoutChg chg="modSp mod">
          <pc:chgData name="Oscar Llorente Gonzalez" userId="e1d48c7f-7de1-49f5-ba88-07a54202ac7d" providerId="ADAL" clId="{5A80F24B-A99F-4C5F-80FB-BB877AB3CE9A}" dt="2024-07-26T12:29:45.564" v="1591" actId="20577"/>
          <pc:sldLayoutMkLst>
            <pc:docMk/>
            <pc:sldMasterMk cId="2523064765" sldId="2147483660"/>
            <pc:sldLayoutMk cId="1436988196" sldId="2147483681"/>
          </pc:sldLayoutMkLst>
        </pc:sldLayoutChg>
        <pc:sldLayoutChg chg="modSp mod">
          <pc:chgData name="Oscar Llorente Gonzalez" userId="e1d48c7f-7de1-49f5-ba88-07a54202ac7d" providerId="ADAL" clId="{5A80F24B-A99F-4C5F-80FB-BB877AB3CE9A}" dt="2024-07-26T12:29:45.555" v="1587" actId="20577"/>
          <pc:sldLayoutMkLst>
            <pc:docMk/>
            <pc:sldMasterMk cId="2523064765" sldId="2147483660"/>
            <pc:sldLayoutMk cId="2548612008" sldId="2147483690"/>
          </pc:sldLayoutMkLst>
        </pc:sldLayoutChg>
      </pc:sldMasterChg>
      <pc:sldMasterChg chg="modSldLayout">
        <pc:chgData name="Oscar Llorente Gonzalez" userId="e1d48c7f-7de1-49f5-ba88-07a54202ac7d" providerId="ADAL" clId="{5A80F24B-A99F-4C5F-80FB-BB877AB3CE9A}" dt="2024-07-26T12:29:45.586" v="1595" actId="20577"/>
        <pc:sldMasterMkLst>
          <pc:docMk/>
          <pc:sldMasterMk cId="4061182373" sldId="2147483765"/>
        </pc:sldMasterMkLst>
        <pc:sldLayoutChg chg="modSp mod">
          <pc:chgData name="Oscar Llorente Gonzalez" userId="e1d48c7f-7de1-49f5-ba88-07a54202ac7d" providerId="ADAL" clId="{5A80F24B-A99F-4C5F-80FB-BB877AB3CE9A}" dt="2024-07-26T12:29:45.586" v="1595" actId="20577"/>
          <pc:sldLayoutMkLst>
            <pc:docMk/>
            <pc:sldMasterMk cId="4061182373" sldId="2147483765"/>
            <pc:sldLayoutMk cId="1967283423" sldId="2147483779"/>
          </pc:sldLayoutMkLst>
        </pc:sldLayoutChg>
      </pc:sldMasterChg>
    </pc:docChg>
  </pc:docChgLst>
  <pc:docChgLst>
    <pc:chgData name="Oscar Llorente Gonzalez" userId="e1d48c7f-7de1-49f5-ba88-07a54202ac7d" providerId="ADAL" clId="{184170BE-2AED-4E74-9AE7-90F0F0C69451}"/>
    <pc:docChg chg="custSel modSld modMainMaster">
      <pc:chgData name="Oscar Llorente Gonzalez" userId="e1d48c7f-7de1-49f5-ba88-07a54202ac7d" providerId="ADAL" clId="{184170BE-2AED-4E74-9AE7-90F0F0C69451}" dt="2024-03-19T21:59:01.608" v="20" actId="167"/>
      <pc:docMkLst>
        <pc:docMk/>
      </pc:docMkLst>
      <pc:sldChg chg="addSp delSp modSp mod">
        <pc:chgData name="Oscar Llorente Gonzalez" userId="e1d48c7f-7de1-49f5-ba88-07a54202ac7d" providerId="ADAL" clId="{184170BE-2AED-4E74-9AE7-90F0F0C69451}" dt="2024-03-19T21:59:01.608" v="20" actId="167"/>
        <pc:sldMkLst>
          <pc:docMk/>
          <pc:sldMk cId="4045496690" sldId="2147479797"/>
        </pc:sldMkLst>
      </pc:sldChg>
      <pc:sldMasterChg chg="modSldLayout">
        <pc:chgData name="Oscar Llorente Gonzalez" userId="e1d48c7f-7de1-49f5-ba88-07a54202ac7d" providerId="ADAL" clId="{184170BE-2AED-4E74-9AE7-90F0F0C69451}" dt="2024-03-19T21:58:38.718" v="11" actId="20577"/>
        <pc:sldMasterMkLst>
          <pc:docMk/>
          <pc:sldMasterMk cId="2523064765" sldId="2147483660"/>
        </pc:sldMasterMkLst>
        <pc:sldLayoutChg chg="modSp mod">
          <pc:chgData name="Oscar Llorente Gonzalez" userId="e1d48c7f-7de1-49f5-ba88-07a54202ac7d" providerId="ADAL" clId="{184170BE-2AED-4E74-9AE7-90F0F0C69451}" dt="2024-03-19T21:58:38.690" v="3" actId="20577"/>
          <pc:sldLayoutMkLst>
            <pc:docMk/>
            <pc:sldMasterMk cId="2523064765" sldId="2147483660"/>
            <pc:sldLayoutMk cId="2275899235" sldId="2147483678"/>
          </pc:sldLayoutMkLst>
        </pc:sldLayoutChg>
        <pc:sldLayoutChg chg="modSp mod">
          <pc:chgData name="Oscar Llorente Gonzalez" userId="e1d48c7f-7de1-49f5-ba88-07a54202ac7d" providerId="ADAL" clId="{184170BE-2AED-4E74-9AE7-90F0F0C69451}" dt="2024-03-19T21:58:38.718" v="11" actId="20577"/>
          <pc:sldLayoutMkLst>
            <pc:docMk/>
            <pc:sldMasterMk cId="2523064765" sldId="2147483660"/>
            <pc:sldLayoutMk cId="1436988196" sldId="2147483681"/>
          </pc:sldLayoutMkLst>
        </pc:sldLayoutChg>
        <pc:sldLayoutChg chg="modSp mod">
          <pc:chgData name="Oscar Llorente Gonzalez" userId="e1d48c7f-7de1-49f5-ba88-07a54202ac7d" providerId="ADAL" clId="{184170BE-2AED-4E74-9AE7-90F0F0C69451}" dt="2024-03-19T21:58:38.703" v="7" actId="20577"/>
          <pc:sldLayoutMkLst>
            <pc:docMk/>
            <pc:sldMasterMk cId="2523064765" sldId="2147483660"/>
            <pc:sldLayoutMk cId="2548612008" sldId="2147483690"/>
          </pc:sldLayoutMkLst>
        </pc:sldLayoutChg>
      </pc:sldMasterChg>
      <pc:sldMasterChg chg="modSldLayout">
        <pc:chgData name="Oscar Llorente Gonzalez" userId="e1d48c7f-7de1-49f5-ba88-07a54202ac7d" providerId="ADAL" clId="{184170BE-2AED-4E74-9AE7-90F0F0C69451}" dt="2024-03-19T21:58:38.759" v="15" actId="20577"/>
        <pc:sldMasterMkLst>
          <pc:docMk/>
          <pc:sldMasterMk cId="4061182373" sldId="2147483765"/>
        </pc:sldMasterMkLst>
        <pc:sldLayoutChg chg="modSp mod">
          <pc:chgData name="Oscar Llorente Gonzalez" userId="e1d48c7f-7de1-49f5-ba88-07a54202ac7d" providerId="ADAL" clId="{184170BE-2AED-4E74-9AE7-90F0F0C69451}" dt="2024-03-19T21:58:38.759" v="15" actId="20577"/>
          <pc:sldLayoutMkLst>
            <pc:docMk/>
            <pc:sldMasterMk cId="4061182373" sldId="2147483765"/>
            <pc:sldLayoutMk cId="1967283423" sldId="2147483779"/>
          </pc:sldLayoutMkLst>
        </pc:sldLayoutChg>
      </pc:sldMasterChg>
    </pc:docChg>
  </pc:docChgLst>
  <pc:docChgLst>
    <pc:chgData name="Oscar Llorente Gonzalez" userId="e1d48c7f-7de1-49f5-ba88-07a54202ac7d" providerId="ADAL" clId="{B4A7EE9B-6219-420E-9492-BE22A5D43567}"/>
    <pc:docChg chg="custSel modSld modMainMaster">
      <pc:chgData name="Oscar Llorente Gonzalez" userId="e1d48c7f-7de1-49f5-ba88-07a54202ac7d" providerId="ADAL" clId="{B4A7EE9B-6219-420E-9492-BE22A5D43567}" dt="2024-02-18T23:58:30.787" v="57" actId="14100"/>
      <pc:docMkLst>
        <pc:docMk/>
      </pc:docMkLst>
      <pc:sldChg chg="modSp mod">
        <pc:chgData name="Oscar Llorente Gonzalez" userId="e1d48c7f-7de1-49f5-ba88-07a54202ac7d" providerId="ADAL" clId="{B4A7EE9B-6219-420E-9492-BE22A5D43567}" dt="2024-02-18T23:58:04.696" v="34" actId="14100"/>
        <pc:sldMkLst>
          <pc:docMk/>
          <pc:sldMk cId="46647062" sldId="2147479193"/>
        </pc:sldMkLst>
      </pc:sldChg>
      <pc:sldMasterChg chg="modSp mod modSldLayout">
        <pc:chgData name="Oscar Llorente Gonzalez" userId="e1d48c7f-7de1-49f5-ba88-07a54202ac7d" providerId="ADAL" clId="{B4A7EE9B-6219-420E-9492-BE22A5D43567}" dt="2024-02-18T23:58:30.787" v="57" actId="14100"/>
        <pc:sldMasterMkLst>
          <pc:docMk/>
          <pc:sldMasterMk cId="2523064765" sldId="2147483660"/>
        </pc:sldMasterMkLst>
        <pc:sldLayoutChg chg="modSp mod">
          <pc:chgData name="Oscar Llorente Gonzalez" userId="e1d48c7f-7de1-49f5-ba88-07a54202ac7d" providerId="ADAL" clId="{B4A7EE9B-6219-420E-9492-BE22A5D43567}" dt="2024-02-18T23:57:13.074" v="3" actId="20577"/>
          <pc:sldLayoutMkLst>
            <pc:docMk/>
            <pc:sldMasterMk cId="2523064765" sldId="2147483660"/>
            <pc:sldLayoutMk cId="2275899235" sldId="2147483678"/>
          </pc:sldLayoutMkLst>
        </pc:sldLayoutChg>
        <pc:sldLayoutChg chg="modSp mod">
          <pc:chgData name="Oscar Llorente Gonzalez" userId="e1d48c7f-7de1-49f5-ba88-07a54202ac7d" providerId="ADAL" clId="{B4A7EE9B-6219-420E-9492-BE22A5D43567}" dt="2024-02-18T23:57:13.109" v="11" actId="20577"/>
          <pc:sldLayoutMkLst>
            <pc:docMk/>
            <pc:sldMasterMk cId="2523064765" sldId="2147483660"/>
            <pc:sldLayoutMk cId="1436988196" sldId="2147483681"/>
          </pc:sldLayoutMkLst>
        </pc:sldLayoutChg>
        <pc:sldLayoutChg chg="modSp mod">
          <pc:chgData name="Oscar Llorente Gonzalez" userId="e1d48c7f-7de1-49f5-ba88-07a54202ac7d" providerId="ADAL" clId="{B4A7EE9B-6219-420E-9492-BE22A5D43567}" dt="2024-02-18T23:57:13.091" v="7" actId="20577"/>
          <pc:sldLayoutMkLst>
            <pc:docMk/>
            <pc:sldMasterMk cId="2523064765" sldId="2147483660"/>
            <pc:sldLayoutMk cId="2548612008" sldId="2147483690"/>
          </pc:sldLayoutMkLst>
        </pc:sldLayoutChg>
      </pc:sldMasterChg>
      <pc:sldMasterChg chg="modSldLayout">
        <pc:chgData name="Oscar Llorente Gonzalez" userId="e1d48c7f-7de1-49f5-ba88-07a54202ac7d" providerId="ADAL" clId="{B4A7EE9B-6219-420E-9492-BE22A5D43567}" dt="2024-02-18T23:57:25.465" v="17"/>
        <pc:sldMasterMkLst>
          <pc:docMk/>
          <pc:sldMasterMk cId="4061182373" sldId="2147483765"/>
        </pc:sldMasterMkLst>
        <pc:sldLayoutChg chg="addSp delSp modSp mod">
          <pc:chgData name="Oscar Llorente Gonzalez" userId="e1d48c7f-7de1-49f5-ba88-07a54202ac7d" providerId="ADAL" clId="{B4A7EE9B-6219-420E-9492-BE22A5D43567}" dt="2024-02-18T23:57:25.465" v="17"/>
          <pc:sldLayoutMkLst>
            <pc:docMk/>
            <pc:sldMasterMk cId="4061182373" sldId="2147483765"/>
            <pc:sldLayoutMk cId="1977142871" sldId="2147483767"/>
          </pc:sldLayoutMkLst>
        </pc:sldLayoutChg>
        <pc:sldLayoutChg chg="modSp mod">
          <pc:chgData name="Oscar Llorente Gonzalez" userId="e1d48c7f-7de1-49f5-ba88-07a54202ac7d" providerId="ADAL" clId="{B4A7EE9B-6219-420E-9492-BE22A5D43567}" dt="2024-02-18T23:57:13.173" v="15" actId="20577"/>
          <pc:sldLayoutMkLst>
            <pc:docMk/>
            <pc:sldMasterMk cId="4061182373" sldId="2147483765"/>
            <pc:sldLayoutMk cId="1967283423" sldId="2147483779"/>
          </pc:sldLayoutMkLst>
        </pc:sldLayoutChg>
      </pc:sldMasterChg>
    </pc:docChg>
  </pc:docChgLst>
  <pc:docChgLst>
    <pc:chgData name="Oscar Llorente Gonzalez" userId="e1d48c7f-7de1-49f5-ba88-07a54202ac7d" providerId="ADAL" clId="{5F27E416-C2E4-477D-BB94-0D2D4A98227C}"/>
    <pc:docChg chg="custSel addSld delSld modMainMaster modSection">
      <pc:chgData name="Oscar Llorente Gonzalez" userId="e1d48c7f-7de1-49f5-ba88-07a54202ac7d" providerId="ADAL" clId="{5F27E416-C2E4-477D-BB94-0D2D4A98227C}" dt="2024-09-25T22:39:01.082" v="20" actId="680"/>
      <pc:docMkLst>
        <pc:docMk/>
      </pc:docMkLst>
      <pc:sldChg chg="del">
        <pc:chgData name="Oscar Llorente Gonzalez" userId="e1d48c7f-7de1-49f5-ba88-07a54202ac7d" providerId="ADAL" clId="{5F27E416-C2E4-477D-BB94-0D2D4A98227C}" dt="2024-09-25T22:38:55.971" v="16" actId="47"/>
        <pc:sldMkLst>
          <pc:docMk/>
          <pc:sldMk cId="4062506516" sldId="2147479798"/>
        </pc:sldMkLst>
      </pc:sldChg>
      <pc:sldChg chg="del">
        <pc:chgData name="Oscar Llorente Gonzalez" userId="e1d48c7f-7de1-49f5-ba88-07a54202ac7d" providerId="ADAL" clId="{5F27E416-C2E4-477D-BB94-0D2D4A98227C}" dt="2024-09-25T22:38:56.544" v="17" actId="47"/>
        <pc:sldMkLst>
          <pc:docMk/>
          <pc:sldMk cId="1788028285" sldId="2147479809"/>
        </pc:sldMkLst>
      </pc:sldChg>
      <pc:sldChg chg="del">
        <pc:chgData name="Oscar Llorente Gonzalez" userId="e1d48c7f-7de1-49f5-ba88-07a54202ac7d" providerId="ADAL" clId="{5F27E416-C2E4-477D-BB94-0D2D4A98227C}" dt="2024-09-25T22:38:57.006" v="18" actId="47"/>
        <pc:sldMkLst>
          <pc:docMk/>
          <pc:sldMk cId="1340164199" sldId="2147479819"/>
        </pc:sldMkLst>
      </pc:sldChg>
      <pc:sldChg chg="del">
        <pc:chgData name="Oscar Llorente Gonzalez" userId="e1d48c7f-7de1-49f5-ba88-07a54202ac7d" providerId="ADAL" clId="{5F27E416-C2E4-477D-BB94-0D2D4A98227C}" dt="2024-09-25T22:38:57.456" v="19" actId="47"/>
        <pc:sldMkLst>
          <pc:docMk/>
          <pc:sldMk cId="3416463214" sldId="2147479820"/>
        </pc:sldMkLst>
      </pc:sldChg>
      <pc:sldChg chg="new">
        <pc:chgData name="Oscar Llorente Gonzalez" userId="e1d48c7f-7de1-49f5-ba88-07a54202ac7d" providerId="ADAL" clId="{5F27E416-C2E4-477D-BB94-0D2D4A98227C}" dt="2024-09-25T22:39:01.082" v="20" actId="680"/>
        <pc:sldMkLst>
          <pc:docMk/>
          <pc:sldMk cId="349078831" sldId="2147479823"/>
        </pc:sldMkLst>
      </pc:sldChg>
      <pc:sldMasterChg chg="modSldLayout">
        <pc:chgData name="Oscar Llorente Gonzalez" userId="e1d48c7f-7de1-49f5-ba88-07a54202ac7d" providerId="ADAL" clId="{5F27E416-C2E4-477D-BB94-0D2D4A98227C}" dt="2024-09-25T22:38:49.996" v="11" actId="20577"/>
        <pc:sldMasterMkLst>
          <pc:docMk/>
          <pc:sldMasterMk cId="2523064765" sldId="2147483660"/>
        </pc:sldMasterMkLst>
        <pc:sldLayoutChg chg="modSp mod">
          <pc:chgData name="Oscar Llorente Gonzalez" userId="e1d48c7f-7de1-49f5-ba88-07a54202ac7d" providerId="ADAL" clId="{5F27E416-C2E4-477D-BB94-0D2D4A98227C}" dt="2024-09-25T22:38:49.972" v="3" actId="20577"/>
          <pc:sldLayoutMkLst>
            <pc:docMk/>
            <pc:sldMasterMk cId="2523064765" sldId="2147483660"/>
            <pc:sldLayoutMk cId="2275899235" sldId="2147483678"/>
          </pc:sldLayoutMkLst>
        </pc:sldLayoutChg>
        <pc:sldLayoutChg chg="modSp mod">
          <pc:chgData name="Oscar Llorente Gonzalez" userId="e1d48c7f-7de1-49f5-ba88-07a54202ac7d" providerId="ADAL" clId="{5F27E416-C2E4-477D-BB94-0D2D4A98227C}" dt="2024-09-25T22:38:49.996" v="11" actId="20577"/>
          <pc:sldLayoutMkLst>
            <pc:docMk/>
            <pc:sldMasterMk cId="2523064765" sldId="2147483660"/>
            <pc:sldLayoutMk cId="1436988196" sldId="2147483681"/>
          </pc:sldLayoutMkLst>
        </pc:sldLayoutChg>
        <pc:sldLayoutChg chg="modSp mod">
          <pc:chgData name="Oscar Llorente Gonzalez" userId="e1d48c7f-7de1-49f5-ba88-07a54202ac7d" providerId="ADAL" clId="{5F27E416-C2E4-477D-BB94-0D2D4A98227C}" dt="2024-09-25T22:38:49.980" v="7" actId="20577"/>
          <pc:sldLayoutMkLst>
            <pc:docMk/>
            <pc:sldMasterMk cId="2523064765" sldId="2147483660"/>
            <pc:sldLayoutMk cId="2548612008" sldId="2147483690"/>
          </pc:sldLayoutMkLst>
        </pc:sldLayoutChg>
      </pc:sldMasterChg>
      <pc:sldMasterChg chg="modSldLayout">
        <pc:chgData name="Oscar Llorente Gonzalez" userId="e1d48c7f-7de1-49f5-ba88-07a54202ac7d" providerId="ADAL" clId="{5F27E416-C2E4-477D-BB94-0D2D4A98227C}" dt="2024-09-25T22:38:50.032" v="15" actId="20577"/>
        <pc:sldMasterMkLst>
          <pc:docMk/>
          <pc:sldMasterMk cId="4061182373" sldId="2147483765"/>
        </pc:sldMasterMkLst>
        <pc:sldLayoutChg chg="modSp mod">
          <pc:chgData name="Oscar Llorente Gonzalez" userId="e1d48c7f-7de1-49f5-ba88-07a54202ac7d" providerId="ADAL" clId="{5F27E416-C2E4-477D-BB94-0D2D4A98227C}" dt="2024-09-25T22:38:50.032" v="15" actId="20577"/>
          <pc:sldLayoutMkLst>
            <pc:docMk/>
            <pc:sldMasterMk cId="4061182373" sldId="2147483765"/>
            <pc:sldLayoutMk cId="1967283423" sldId="2147483779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F6FD348-9C7F-4865-875C-863EC6E2CB8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294207-A46E-4F9A-91C9-BB4398CEA98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105526-C577-427D-800D-7921EA16026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CA4CFA-39AC-4AB6-B521-EBDB0AF74AF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7AEDCC-D3AE-4D3E-A1AA-6BA600F277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4262122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Ericsson Hilda Light" panose="000004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Ericsson Hilda Light" panose="00000400000000000000" pitchFamily="2" charset="0"/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Ericsson Hilda Light" panose="000004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Ericsson Hilda Light" panose="00000400000000000000" pitchFamily="2" charset="0"/>
              </a:defRPr>
            </a:lvl1pPr>
          </a:lstStyle>
          <a:p>
            <a:fld id="{F949BC75-2359-4F98-918A-7033C92AD48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3333820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Ericsson Hilda Light" panose="00000400000000000000" pitchFamily="2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Ericsson Hilda Light" panose="00000400000000000000" pitchFamily="2" charset="0"/>
              </a:rPr>
              <a:t>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Ericsson Hilda Light" panose="00000400000000000000" pitchFamily="2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49BC75-2359-4F98-918A-7033C92AD487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Ericsson Hilda Light" panose="00000400000000000000" pitchFamily="2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Ericsson Hilda Light" panose="000004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74188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3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5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6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7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8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9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0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20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20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1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3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21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4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21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5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5" Type="http://schemas.openxmlformats.org/officeDocument/2006/relationships/image" Target="../media/image22.png"/><Relationship Id="rId4" Type="http://schemas.openxmlformats.org/officeDocument/2006/relationships/image" Target="../media/image18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7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8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9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0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1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2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3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21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4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21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5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6"/>
          </a:xfrm>
        </p:spPr>
        <p:txBody>
          <a:bodyPr/>
          <a:lstStyle>
            <a:lvl1pPr>
              <a:lnSpc>
                <a:spcPct val="85000"/>
              </a:lnSpc>
              <a:defRPr sz="8000" b="0" kern="1400" spc="-16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Title/cover page,   Ericsson Hilda Light 80pt, max 3-lines</a:t>
            </a:r>
          </a:p>
        </p:txBody>
      </p:sp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lIns="7200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Description/subtitle/speaker…</a:t>
            </a:r>
            <a:br>
              <a:rPr lang="en-US"/>
            </a:br>
            <a:r>
              <a:rPr lang="en-US"/>
              <a:t>Ericsson Hilda Black 20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240463" y="6264000"/>
            <a:ext cx="1910479" cy="262800"/>
          </a:xfrm>
          <a:prstGeom prst="rect">
            <a:avLst/>
          </a:prstGeom>
        </p:spPr>
        <p:txBody>
          <a:bodyPr wrap="none" tIns="0" bIns="0" anchor="ctr" anchorCtr="0"/>
          <a:lstStyle>
            <a:lvl1pPr marL="0" indent="0" algn="r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Speaker nam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8229600" y="6264000"/>
            <a:ext cx="2515041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bIns="0" anchor="ctr" anchorCtr="0"/>
          <a:lstStyle>
            <a:lvl1pPr marL="0" indent="0" algn="ctr">
              <a:buNone/>
              <a:defRPr lang="en-US" sz="1200" dirty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Organization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10811951" y="6264000"/>
            <a:ext cx="897503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0" rIns="0" bIns="0" anchor="ctr" anchorCtr="0"/>
          <a:lstStyle>
            <a:lvl1pPr marL="0" indent="0" algn="ctr">
              <a:buNone/>
              <a:defRPr lang="en-US" sz="1200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1374575616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_SM">
            <a:extLst>
              <a:ext uri="{FF2B5EF4-FFF2-40B4-BE49-F238E27FC236}">
                <a16:creationId xmlns:a16="http://schemas.microsoft.com/office/drawing/2014/main" id="{2C948968-FB06-45CC-8259-6BDE4430EACB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81655" y="1844674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2694" y="1847723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4" hasCustomPrompt="1"/>
          </p:nvPr>
        </p:nvSpPr>
        <p:spPr>
          <a:xfrm>
            <a:off x="6242694" y="4151955"/>
            <a:ext cx="5472113" cy="2087564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5BD2C41D-0700-4885-AB77-25AFFE4E1FD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1655" y="4152597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549048C1-340D-44C4-857B-1B201EC9A7E7}"/>
              </a:ext>
            </a:extLst>
          </p:cNvPr>
          <p:cNvSpPr txBox="1"/>
          <p:nvPr userDrawn="1"/>
        </p:nvSpPr>
        <p:spPr>
          <a:xfrm>
            <a:off x="421638" y="6524625"/>
            <a:ext cx="486190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r>
              <a:rPr lang="en-US" sz="800" b="0" i="0" u="none">
                <a:solidFill>
                  <a:schemeClr val="tx1"/>
                </a:solidFill>
                <a:latin typeface="+mn-lt"/>
              </a:rPr>
              <a:t>  |  EPHILFR Philipp Frank  |  A  |  2023-09-08  |  CNS AI Differentiators  |  Ericsson Confidential  |  Page </a:t>
            </a:r>
            <a:fld id="{DCBAE91A-0D66-407E-A95B-C3A02474A571}" type="slidenum">
              <a:rPr lang="en-US" sz="800" b="0" i="0" u="none" smtClean="0">
                <a:solidFill>
                  <a:schemeClr val="tx1"/>
                </a:solidFill>
                <a:latin typeface="+mn-lt"/>
              </a:rPr>
              <a:t>‹#›</a:t>
            </a:fld>
            <a:r>
              <a:rPr lang="en-US" sz="800" b="0" i="0" u="none">
                <a:solidFill>
                  <a:schemeClr val="tx1"/>
                </a:solidFill>
                <a:latin typeface="+mn-lt"/>
              </a:rPr>
              <a:t> of 7</a:t>
            </a:r>
          </a:p>
        </p:txBody>
      </p:sp>
    </p:spTree>
    <p:extLst>
      <p:ext uri="{BB962C8B-B14F-4D97-AF65-F5344CB8AC3E}">
        <p14:creationId xmlns:p14="http://schemas.microsoft.com/office/powerpoint/2010/main" val="25486120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8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_SM">
            <a:extLst>
              <a:ext uri="{FF2B5EF4-FFF2-40B4-BE49-F238E27FC236}">
                <a16:creationId xmlns:a16="http://schemas.microsoft.com/office/drawing/2014/main" id="{99858DC4-E787-41D2-A613-961D60F89117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81560" y="1844675"/>
            <a:ext cx="2592389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3216" y="1844674"/>
            <a:ext cx="2592387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3"/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481561" y="4151134"/>
            <a:ext cx="2592389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4" hasCustomPrompt="1"/>
          </p:nvPr>
        </p:nvSpPr>
        <p:spPr>
          <a:xfrm>
            <a:off x="6243152" y="4151245"/>
            <a:ext cx="2592387" cy="2086292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3359835" y="1844674"/>
            <a:ext cx="2592388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3361288" y="4151861"/>
            <a:ext cx="2592387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9122324" y="1844674"/>
            <a:ext cx="2592387" cy="2089151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3"/>
            <a:endParaRPr lang="en-US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9122324" y="4151861"/>
            <a:ext cx="2592387" cy="2087562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089CBEB5-348B-49F3-8F8B-FDEE08950E37}"/>
              </a:ext>
            </a:extLst>
          </p:cNvPr>
          <p:cNvSpPr txBox="1"/>
          <p:nvPr userDrawn="1"/>
        </p:nvSpPr>
        <p:spPr>
          <a:xfrm>
            <a:off x="421638" y="6524625"/>
            <a:ext cx="486190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r>
              <a:rPr lang="en-US" sz="800" b="0" i="0" u="none">
                <a:solidFill>
                  <a:schemeClr val="tx1"/>
                </a:solidFill>
                <a:latin typeface="+mn-lt"/>
              </a:rPr>
              <a:t>  |  EPHILFR Philipp Frank  |  A  |  2023-09-08  |  CNS AI Differentiators  |  Ericsson Confidential  |  Page </a:t>
            </a:r>
            <a:fld id="{802F36AA-85B7-4F41-9421-C43E42E9330B}" type="slidenum">
              <a:rPr lang="en-US" sz="800" b="0" i="0" u="none" smtClean="0">
                <a:solidFill>
                  <a:schemeClr val="tx1"/>
                </a:solidFill>
                <a:latin typeface="+mn-lt"/>
              </a:rPr>
              <a:t>‹#›</a:t>
            </a:fld>
            <a:r>
              <a:rPr lang="en-US" sz="800" b="0" i="0" u="none">
                <a:solidFill>
                  <a:schemeClr val="tx1"/>
                </a:solidFill>
                <a:latin typeface="+mn-lt"/>
              </a:rPr>
              <a:t> of 7</a:t>
            </a:r>
          </a:p>
        </p:txBody>
      </p:sp>
    </p:spTree>
    <p:extLst>
      <p:ext uri="{BB962C8B-B14F-4D97-AF65-F5344CB8AC3E}">
        <p14:creationId xmlns:p14="http://schemas.microsoft.com/office/powerpoint/2010/main" val="14369881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logo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_TM">
            <a:extLst>
              <a:ext uri="{FF2B5EF4-FFF2-40B4-BE49-F238E27FC236}">
                <a16:creationId xmlns:a16="http://schemas.microsoft.com/office/drawing/2014/main" id="{B200748E-0B61-48E1-8B47-504C30250995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71813" y="4309200"/>
            <a:ext cx="6048375" cy="347472"/>
          </a:xfrm>
          <a:prstGeom prst="rect">
            <a:avLst/>
          </a:prstGeom>
        </p:spPr>
        <p:txBody>
          <a:bodyPr rIns="7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Use this space for relevant Ericsson URLs or hashtag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979B00C-7C1F-4F17-8D52-31D787A123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06895" y="2854112"/>
            <a:ext cx="1163145" cy="1163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1685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bedded charac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99AF35DD-3E5E-42CB-AFA5-5E09E14F72A4}"/>
              </a:ext>
            </a:extLst>
          </p:cNvPr>
          <p:cNvSpPr txBox="1"/>
          <p:nvPr userDrawn="1"/>
        </p:nvSpPr>
        <p:spPr bwMode="auto">
          <a:xfrm>
            <a:off x="479425" y="142897"/>
            <a:ext cx="11233149" cy="6561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r>
              <a:rPr lang="en-US" sz="1400" b="1">
                <a:solidFill>
                  <a:schemeClr val="tx1"/>
                </a:solidFill>
                <a:latin typeface="+mn-lt"/>
              </a:rPr>
              <a:t>This Master Slide is to ensure that all our characters are embedded with the presentation. Should not be used in a presentation.</a:t>
            </a:r>
            <a:endParaRPr lang="en-US"/>
          </a:p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endParaRPr lang="en-US" sz="1400" b="1">
              <a:solidFill>
                <a:schemeClr val="tx1"/>
              </a:solidFill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u="sng" err="1">
                <a:solidFill>
                  <a:schemeClr val="tx1"/>
                </a:solidFill>
                <a:latin typeface="Ericsson Hilda ExtraLight" panose="00000300000000000000" pitchFamily="2" charset="0"/>
              </a:rPr>
              <a:t>EricssonHilda</a:t>
            </a:r>
            <a:r>
              <a:rPr lang="en-US" sz="1200" u="sng">
                <a:solidFill>
                  <a:schemeClr val="tx1"/>
                </a:solidFill>
                <a:latin typeface="Ericsson Hilda ExtraLight" panose="00000300000000000000" pitchFamily="2" charset="0"/>
              </a:rPr>
              <a:t>(</a:t>
            </a:r>
            <a:r>
              <a:rPr lang="en-US" sz="1200" u="sng" err="1">
                <a:solidFill>
                  <a:schemeClr val="tx1"/>
                </a:solidFill>
                <a:latin typeface="Ericsson Hilda ExtraLight" panose="00000300000000000000" pitchFamily="2" charset="0"/>
              </a:rPr>
              <a:t>ExtraLight</a:t>
            </a:r>
            <a:r>
              <a:rPr lang="en-US" sz="1200" u="sng">
                <a:solidFill>
                  <a:schemeClr val="tx1"/>
                </a:solidFill>
                <a:latin typeface="Ericsson Hilda ExtraLight" panose="00000300000000000000" pitchFamily="2" charset="0"/>
              </a:rPr>
              <a:t>):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!"#$%&amp;'()*+,./0123456789:;&lt;=&gt;?@ABCDEFGHIJKLMNOPQRSTUVWXYZ[\]^_`</a:t>
            </a:r>
            <a:r>
              <a:rPr lang="en-US" sz="1200" err="1">
                <a:solidFill>
                  <a:schemeClr val="tx1"/>
                </a:solidFill>
                <a:latin typeface="Ericsson Hilda ExtraLight" panose="00000300000000000000" pitchFamily="2" charset="0"/>
              </a:rPr>
              <a:t>abcdefghijklmnopqrstuvwxyz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200" kern="1200">
                <a:solidFill>
                  <a:schemeClr val="tx1"/>
                </a:solidFill>
                <a:latin typeface="Ericsson Hilda ExtraLight" panose="00000300000000000000" pitchFamily="2" charset="0"/>
                <a:ea typeface="+mn-ea"/>
                <a:cs typeface="+mn-cs"/>
              </a:rPr>
              <a:t>Čč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200" err="1">
                <a:solidFill>
                  <a:schemeClr val="tx1"/>
                </a:solidFill>
                <a:latin typeface="Ericsson Hilda ExtraLight" panose="00000300000000000000" pitchFamily="2" charset="0"/>
              </a:rPr>
              <a:t>ẀẁẃẄẅỲỳ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err="1">
                <a:solidFill>
                  <a:schemeClr val="tx1"/>
                </a:solidFill>
                <a:latin typeface="Ericsson Hilda ExtraLight" panose="00000300000000000000" pitchFamily="2" charset="0"/>
              </a:rPr>
              <a:t>ﬁﬂΆΈΉΊΌΎΏΐΑΒΓΕΖΗΘΙΚΛΜΝΞΟΠΡΣΤΥΦΧΨΪΫΆΈΉΊΰ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u="sng" err="1">
                <a:solidFill>
                  <a:schemeClr val="tx1"/>
                </a:solidFill>
                <a:latin typeface="+mj-lt"/>
              </a:rPr>
              <a:t>EricssonHilda</a:t>
            </a:r>
            <a:r>
              <a:rPr lang="en-US" sz="1200" u="sng">
                <a:solidFill>
                  <a:schemeClr val="tx1"/>
                </a:solidFill>
                <a:latin typeface="+mj-lt"/>
              </a:rPr>
              <a:t>(Light):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!"#$%&amp;'()*+,./0123456789:;&lt;=&gt;?@ABCDEFGHIJKLMNOPQRSTUVWXYZ[\]^_`</a:t>
            </a:r>
            <a:r>
              <a:rPr lang="en-US" sz="1200" err="1">
                <a:solidFill>
                  <a:schemeClr val="tx1"/>
                </a:solidFill>
                <a:latin typeface="+mj-lt"/>
              </a:rPr>
              <a:t>abcdefghijklmnopqrstuvwxyz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Čč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200" err="1">
                <a:solidFill>
                  <a:schemeClr val="tx1"/>
                </a:solidFill>
                <a:latin typeface="+mj-lt"/>
              </a:rPr>
              <a:t>ẀẁẃẄẅỲỳ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err="1">
                <a:solidFill>
                  <a:schemeClr val="tx1"/>
                </a:solidFill>
                <a:latin typeface="+mj-lt"/>
              </a:rPr>
              <a:t>ﬁﬂΆΈΉΊΌΎΏΐΑΒΓΕΖΗΘΙΚΛΜΝΞΟΠΡΣΤΥΦΧΨΪΫΆΈΉΊΰ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</a:t>
            </a:r>
            <a:r>
              <a:rPr lang="en-US" sz="1200">
                <a:solidFill>
                  <a:schemeClr val="tx1"/>
                </a:solidFill>
                <a:latin typeface="Ericsson Hilda Light" panose="00000400000000000000" pitchFamily="2" charset="0"/>
              </a:rPr>
              <a:t>●</a:t>
            </a:r>
            <a:endParaRPr lang="en-US" sz="1200">
              <a:solidFill>
                <a:schemeClr val="tx1"/>
              </a:solidFill>
            </a:endParaRPr>
          </a:p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r>
              <a:rPr lang="en-US" sz="1200" u="sng" err="1">
                <a:solidFill>
                  <a:schemeClr val="tx1"/>
                </a:solidFill>
                <a:latin typeface="+mn-lt"/>
              </a:rPr>
              <a:t>EricssonHilda</a:t>
            </a:r>
            <a:r>
              <a:rPr lang="en-US" sz="1200" u="sng">
                <a:solidFill>
                  <a:schemeClr val="tx1"/>
                </a:solidFill>
                <a:latin typeface="+mn-lt"/>
              </a:rPr>
              <a:t>(Regular):</a:t>
            </a:r>
            <a:r>
              <a:rPr lang="en-US" sz="1200">
                <a:solidFill>
                  <a:schemeClr val="tx1"/>
                </a:solidFill>
                <a:latin typeface="+mn-lt"/>
              </a:rPr>
              <a:t>!"#$%&amp;'()*+,./0123456789:;&lt;=&gt;?@ABCDEFGHIJKLMNOPQRSTUVWXYZ[\]^_`</a:t>
            </a:r>
            <a:r>
              <a:rPr lang="en-US" sz="1200" err="1">
                <a:solidFill>
                  <a:schemeClr val="tx1"/>
                </a:solidFill>
                <a:latin typeface="+mn-lt"/>
              </a:rPr>
              <a:t>abcdefghijklmnopqrstuvwxyz</a:t>
            </a:r>
            <a:r>
              <a:rPr lang="en-US" sz="1200">
                <a:solidFill>
                  <a:schemeClr val="tx1"/>
                </a:solidFill>
                <a:latin typeface="+mn-lt"/>
              </a:rPr>
              <a:t>{|}~¡¢£¤¥¦§¨©ª«¬®¯°±²³´¶·¸¹º»¼½ÀÁÂÃÄÅÆÇÈËÌÍÎÏÐÑÒÓÔÕÖ×ØÙÚÛÜÝÞßàáâãäåæçèéêëìíîïðñòóôõö÷øùúûüýþÿĀāĂăąĆćĊċČčĎďĐđĒĖėĘęĚěĞğĠġĢģĪīĮįİıĶķĹĺĻļĽľŁłŃńŅņŇňŌŐőŒœŔŕŖŗŘřŚśŞşŠšŢţŤťŪūŮůŰűŲųŴŵŶŷŸŹźŻżŽžƒȘșˆˇ˘˙˚˛˜˝</a:t>
            </a:r>
            <a:r>
              <a:rPr lang="en-US" sz="1200" err="1">
                <a:solidFill>
                  <a:schemeClr val="tx1"/>
                </a:solidFill>
                <a:latin typeface="+mn-lt"/>
              </a:rPr>
              <a:t>ẀẁẃẄẅỲỳ</a:t>
            </a:r>
            <a:r>
              <a:rPr lang="en-US" sz="1200">
                <a:solidFill>
                  <a:schemeClr val="tx1"/>
                </a:solidFill>
                <a:latin typeface="+mn-lt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err="1">
                <a:solidFill>
                  <a:schemeClr val="tx1"/>
                </a:solidFill>
                <a:latin typeface="+mn-lt"/>
              </a:rPr>
              <a:t>ﬁﬂΆΈΉΊΌΎΏΐΑΒΓΕΖΗΘΙΚΛΜΝΞΟΠΡΣΤΥΦΧΨΪΫΆΈΉΊΰ</a:t>
            </a:r>
            <a:r>
              <a:rPr lang="en-US" sz="1200">
                <a:solidFill>
                  <a:schemeClr val="tx1"/>
                </a:solidFill>
                <a:latin typeface="+mn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b="1" u="sng" err="1">
                <a:solidFill>
                  <a:schemeClr val="tx1"/>
                </a:solidFill>
                <a:latin typeface="+mj-lt"/>
              </a:rPr>
              <a:t>EricssonHildaLight+Bold</a:t>
            </a:r>
            <a:r>
              <a:rPr lang="en-US" sz="1200" b="1" u="sng">
                <a:solidFill>
                  <a:schemeClr val="tx1"/>
                </a:solidFill>
                <a:latin typeface="+mj-lt"/>
              </a:rPr>
              <a:t>(Medium):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!"#$%&amp;'()*+,./0123456789:;&lt;=&gt;?@ABCDEFGHIJKLMNOPQRSTUVWXYZ[\]^_`</a:t>
            </a:r>
            <a:r>
              <a:rPr lang="en-US" sz="1200" b="1" err="1">
                <a:solidFill>
                  <a:schemeClr val="tx1"/>
                </a:solidFill>
                <a:latin typeface="+mj-lt"/>
              </a:rPr>
              <a:t>abcdefghijklmnopqrstuvwxyz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Čč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200" b="1" err="1">
                <a:solidFill>
                  <a:schemeClr val="tx1"/>
                </a:solidFill>
                <a:latin typeface="+mj-lt"/>
              </a:rPr>
              <a:t>ẀẁẃẄẅỲỳ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b="1" err="1">
                <a:solidFill>
                  <a:schemeClr val="tx1"/>
                </a:solidFill>
                <a:latin typeface="+mj-lt"/>
              </a:rPr>
              <a:t>ﬁﬂΆΈΉΊΌΎΏΐΑΒΓΕΖΗΘΙΚΛΜΝΞΟΠΡΣΤΥΦΧΨΪΫΆΈΉΊΰ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</a:t>
            </a:r>
            <a:r>
              <a:rPr lang="en-US" sz="1200" b="1">
                <a:solidFill>
                  <a:schemeClr val="tx1"/>
                </a:solidFill>
                <a:latin typeface="Ericsson Hilda Light" panose="00000400000000000000" pitchFamily="2" charset="0"/>
              </a:rPr>
              <a:t>●</a:t>
            </a:r>
            <a:endParaRPr lang="en-US" sz="1200" b="1">
              <a:solidFill>
                <a:schemeClr val="tx1"/>
              </a:solidFill>
              <a:latin typeface="+mj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b="1" u="sng" err="1">
                <a:solidFill>
                  <a:schemeClr val="tx1"/>
                </a:solidFill>
                <a:latin typeface="+mn-lt"/>
              </a:rPr>
              <a:t>EricssonHilda+Bold</a:t>
            </a:r>
            <a:r>
              <a:rPr lang="en-US" sz="1200" b="1" u="sng">
                <a:solidFill>
                  <a:schemeClr val="tx1"/>
                </a:solidFill>
                <a:latin typeface="+mn-lt"/>
              </a:rPr>
              <a:t>(Bold):</a:t>
            </a:r>
            <a:r>
              <a:rPr lang="en-US" sz="1200" b="1">
                <a:solidFill>
                  <a:schemeClr val="tx1"/>
                </a:solidFill>
                <a:latin typeface="+mn-lt"/>
              </a:rPr>
              <a:t>!"#$%&amp;'()*+,./0123456789:;&lt;=&gt;?@ABCDEFGHIJKLMNOPQRSTUVWXYZ[\]^_`</a:t>
            </a:r>
            <a:r>
              <a:rPr lang="en-US" sz="1200" b="1" err="1">
                <a:solidFill>
                  <a:schemeClr val="tx1"/>
                </a:solidFill>
                <a:latin typeface="+mn-lt"/>
              </a:rPr>
              <a:t>abcdefghijklmnopqrstuvwxyz</a:t>
            </a:r>
            <a:r>
              <a:rPr lang="en-US" sz="1200" b="1">
                <a:solidFill>
                  <a:schemeClr val="tx1"/>
                </a:solidFill>
                <a:latin typeface="+mn-lt"/>
              </a:rPr>
              <a:t>{|}~¡¢£¤¥¦§¨©ª«¬®¯°±²³´¶·¸¹º»¼½ÀÁÂÃÄÅÆÇÈËÌÍÎÏÐÑÒÓÔÕÖ×ØÙÚÛÜÝÞßàáâãäåæçèéêëìíîïðñòóôõö÷øùúûüýþÿĀāĂăąĆćĊċČčĎďĐđĒĖėĘęĚěĞğĠġĢģĪīĮįİıĶķĹĺĻļĽľŁłŃńŅņŇňŌŐőŒœŔŕŖŗŘřŚśŞşŠšŢţŤťŪūŮůŰűŲųŴŵŶŷŸŹźŻżŽžƒȘșˆˇ˘˙˚˛˜˝</a:t>
            </a:r>
            <a:r>
              <a:rPr lang="en-US" sz="1200" b="1" err="1">
                <a:solidFill>
                  <a:schemeClr val="tx1"/>
                </a:solidFill>
                <a:latin typeface="+mn-lt"/>
              </a:rPr>
              <a:t>ẀẁẃẄẅỲỳ</a:t>
            </a:r>
            <a:r>
              <a:rPr lang="en-US" sz="1200" b="1">
                <a:solidFill>
                  <a:schemeClr val="tx1"/>
                </a:solidFill>
                <a:latin typeface="+mn-lt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b="1" err="1">
                <a:solidFill>
                  <a:schemeClr val="tx1"/>
                </a:solidFill>
                <a:latin typeface="+mn-lt"/>
              </a:rPr>
              <a:t>ﬁﬂΆΈΉΊΌΎΏΐΑΒΓΕΖΗΘΙΚΛΜΝΞΟΠΡΣΤΥΦΧΨΪΫΆΈΉΊΰ</a:t>
            </a:r>
            <a:r>
              <a:rPr lang="en-US" sz="1200" b="1">
                <a:solidFill>
                  <a:schemeClr val="tx1"/>
                </a:solidFill>
                <a:latin typeface="+mn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 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b="0" u="sng" err="1">
                <a:solidFill>
                  <a:schemeClr val="tx1"/>
                </a:solidFill>
                <a:latin typeface="Ericsson Hilda ExtraBold" panose="00000900000000000000" pitchFamily="2" charset="0"/>
              </a:rPr>
              <a:t>EricssonHilda</a:t>
            </a:r>
            <a:r>
              <a:rPr lang="en-US" sz="1200" b="0" u="sng">
                <a:solidFill>
                  <a:schemeClr val="tx1"/>
                </a:solidFill>
                <a:latin typeface="Ericsson Hilda ExtraBold" panose="00000900000000000000" pitchFamily="2" charset="0"/>
              </a:rPr>
              <a:t>(</a:t>
            </a:r>
            <a:r>
              <a:rPr lang="en-US" sz="1200" b="0" u="sng" err="1">
                <a:solidFill>
                  <a:schemeClr val="tx1"/>
                </a:solidFill>
                <a:latin typeface="Ericsson Hilda ExtraBold" panose="00000900000000000000" pitchFamily="2" charset="0"/>
              </a:rPr>
              <a:t>ExtraBold</a:t>
            </a:r>
            <a:r>
              <a:rPr lang="en-US" sz="1200" b="0" u="sng">
                <a:solidFill>
                  <a:schemeClr val="tx1"/>
                </a:solidFill>
                <a:latin typeface="Ericsson Hilda ExtraBold" panose="00000900000000000000" pitchFamily="2" charset="0"/>
              </a:rPr>
              <a:t>):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!"#$%&amp;'()*+,./0123456789:;&lt;=&gt;?@ABCDEFGHIJKLMNOPQRSTUVWXYZ[\]^_`</a:t>
            </a:r>
            <a:r>
              <a:rPr lang="en-US" sz="1200" b="0" err="1">
                <a:solidFill>
                  <a:schemeClr val="tx1"/>
                </a:solidFill>
                <a:latin typeface="Ericsson Hilda ExtraBold" panose="00000900000000000000" pitchFamily="2" charset="0"/>
              </a:rPr>
              <a:t>abcdefghijklmnopqrstuvwxyz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200" b="0" kern="1200">
                <a:solidFill>
                  <a:schemeClr val="tx1"/>
                </a:solidFill>
                <a:latin typeface="Ericsson Hilda ExtraBold" panose="00000900000000000000" pitchFamily="2" charset="0"/>
                <a:ea typeface="+mn-ea"/>
                <a:cs typeface="+mn-cs"/>
              </a:rPr>
              <a:t>Čč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200" b="0" err="1">
                <a:solidFill>
                  <a:schemeClr val="tx1"/>
                </a:solidFill>
                <a:latin typeface="Ericsson Hilda ExtraBold" panose="00000900000000000000" pitchFamily="2" charset="0"/>
              </a:rPr>
              <a:t>ẀẁẃẄẅỲỳ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b="0" err="1">
                <a:solidFill>
                  <a:schemeClr val="tx1"/>
                </a:solidFill>
                <a:latin typeface="Ericsson Hilda ExtraBold" panose="00000900000000000000" pitchFamily="2" charset="0"/>
              </a:rPr>
              <a:t>ﬁﬂΆΈΉΊΌΎΏΐΑΒΓΕΖΗΘΙΚΛΜΝΞΟΠΡΣΤΥΦΧΨΪΫΆΈΉΊΰ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endParaRPr lang="en-US" sz="1200" b="1">
              <a:solidFill>
                <a:schemeClr val="tx1"/>
              </a:solidFill>
              <a:latin typeface="Ericsson Technical Ico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b="1">
                <a:solidFill>
                  <a:schemeClr val="tx1"/>
                </a:solidFill>
                <a:latin typeface="Ericsson Technical Icons" panose="00000500000000000000" pitchFamily="2" charset="0"/>
              </a:rPr>
              <a:t>B C D F G H I L M O P R S W X b c d f g h I l m o p r s w x</a:t>
            </a:r>
            <a:endParaRPr lang="en-US" sz="1200" b="1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104705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BFA898-C9FF-5941-05AE-581455B1D1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009192-E708-01E7-A68D-1003A7A06C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C76C92-C0F3-76A8-4AFB-8F9279B998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B0CB33-71CA-4997-94A4-B3DC9049FEAA}" type="datetimeFigureOut">
              <a:rPr lang="en-US" smtClean="0"/>
              <a:t>18-Sep-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5318F0-CEFF-3F8F-1457-AF4DFB3120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4BF143-DFCF-EED0-CA5E-59E20D686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88145-6816-4A59-B2D4-D712992D10F6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EC327E55-9D6D-8BC7-1317-27A82322884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9736" y="211659"/>
            <a:ext cx="818108" cy="818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41715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6"/>
          </a:xfrm>
        </p:spPr>
        <p:txBody>
          <a:bodyPr/>
          <a:lstStyle>
            <a:lvl1pPr>
              <a:lnSpc>
                <a:spcPct val="85000"/>
              </a:lnSpc>
              <a:defRPr sz="8000" b="0" kern="1400" spc="-16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Title/cover page,   Ericsson Hilda Light 80pt, max 3-lines</a:t>
            </a:r>
          </a:p>
        </p:txBody>
      </p:sp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lIns="7200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Description/subtitle/speaker…</a:t>
            </a:r>
            <a:br>
              <a:rPr lang="en-US"/>
            </a:br>
            <a:r>
              <a:rPr lang="en-US"/>
              <a:t>Ericsson Hilda Black 20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240463" y="6264000"/>
            <a:ext cx="1910479" cy="262800"/>
          </a:xfrm>
          <a:prstGeom prst="rect">
            <a:avLst/>
          </a:prstGeom>
        </p:spPr>
        <p:txBody>
          <a:bodyPr wrap="none" tIns="0" bIns="0" anchor="ctr" anchorCtr="0"/>
          <a:lstStyle>
            <a:lvl1pPr marL="0" indent="0" algn="r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Speaker nam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8229600" y="6264000"/>
            <a:ext cx="2515041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bIns="0" anchor="ctr" anchorCtr="0"/>
          <a:lstStyle>
            <a:lvl1pPr marL="0" indent="0" algn="ctr">
              <a:buNone/>
              <a:defRPr lang="en-US" sz="1200" dirty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Organization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10811951" y="6264000"/>
            <a:ext cx="897503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0" rIns="0" bIns="0" anchor="ctr" anchorCtr="0"/>
          <a:lstStyle>
            <a:lvl1pPr marL="0" indent="0" algn="ctr">
              <a:buNone/>
              <a:defRPr lang="en-US" sz="1200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3186777384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6"/>
          </a:xfrm>
        </p:spPr>
        <p:txBody>
          <a:bodyPr/>
          <a:lstStyle>
            <a:lvl1pPr>
              <a:lnSpc>
                <a:spcPct val="85000"/>
              </a:lnSpc>
              <a:defRPr sz="8000" b="0" kern="1400" spc="-16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/cover page,   Ericsson Hilda Light 80pt, max 3-lines</a:t>
            </a:r>
          </a:p>
        </p:txBody>
      </p:sp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lIns="7200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Description/subtitle/speaker…</a:t>
            </a:r>
            <a:br>
              <a:rPr lang="en-US"/>
            </a:br>
            <a:r>
              <a:rPr lang="en-US"/>
              <a:t>Ericsson Hilda Black 20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011863" y="6264000"/>
            <a:ext cx="1910479" cy="262800"/>
          </a:xfrm>
          <a:prstGeom prst="rect">
            <a:avLst/>
          </a:prstGeom>
        </p:spPr>
        <p:txBody>
          <a:bodyPr wrap="none" tIns="0" bIns="0" anchor="ctr" anchorCtr="0"/>
          <a:lstStyle>
            <a:lvl1pPr marL="0" indent="0" algn="r"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Speaker nam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7978140" y="6264000"/>
            <a:ext cx="2766501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bIns="0" anchor="ctr" anchorCtr="0"/>
          <a:lstStyle>
            <a:lvl1pPr marL="0" indent="0" algn="ctr"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Organization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10811951" y="6264000"/>
            <a:ext cx="897503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0" rIns="0" bIns="0" anchor="ctr" anchorCtr="0"/>
          <a:lstStyle>
            <a:lvl1pPr marL="0" indent="0" algn="ctr"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YYYY-MM-DD</a:t>
            </a:r>
          </a:p>
        </p:txBody>
      </p:sp>
      <p:pic>
        <p:nvPicPr>
          <p:cNvPr id="2" name="Picture 2" descr="Ericsson logo in transparent PNG and vectorized SVG formats">
            <a:extLst>
              <a:ext uri="{FF2B5EF4-FFF2-40B4-BE49-F238E27FC236}">
                <a16:creationId xmlns:a16="http://schemas.microsoft.com/office/drawing/2014/main" id="{0894968E-407B-1ACA-6FFF-45BD48CE3B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4442" y="172324"/>
            <a:ext cx="623449" cy="845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Droplets forming a molecular connection">
            <a:extLst>
              <a:ext uri="{FF2B5EF4-FFF2-40B4-BE49-F238E27FC236}">
                <a16:creationId xmlns:a16="http://schemas.microsoft.com/office/drawing/2014/main" id="{4454C8FD-D113-2F67-6FBD-1B1E20B793B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53"/>
            <a:ext cx="12192000" cy="6852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142871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ocean floor&#10;&#10;Description automatically generated">
            <a:extLst>
              <a:ext uri="{FF2B5EF4-FFF2-40B4-BE49-F238E27FC236}">
                <a16:creationId xmlns:a16="http://schemas.microsoft.com/office/drawing/2014/main" id="{546323BF-0623-1BC8-A7A1-24F1717927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6"/>
          </a:xfrm>
        </p:spPr>
        <p:txBody>
          <a:bodyPr/>
          <a:lstStyle>
            <a:lvl1pPr>
              <a:lnSpc>
                <a:spcPct val="85000"/>
              </a:lnSpc>
              <a:defRPr sz="6000" b="0" kern="1400" spc="-16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/cover page,   Ericsson Hilda Light 80pt, max 3-lines</a:t>
            </a:r>
          </a:p>
        </p:txBody>
      </p:sp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lIns="7200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Description/subtitle/speaker…</a:t>
            </a:r>
            <a:br>
              <a:rPr lang="en-US"/>
            </a:br>
            <a:r>
              <a:rPr lang="en-US"/>
              <a:t>Ericsson Hilda Black 20pt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688DF1B-3DE1-61C1-2C4A-31DDBBEAA8E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93088" y="476251"/>
            <a:ext cx="256032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095497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40462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6869961-F931-4F1E-9FB3-8587EBA3F36F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D9DB7BA-3A2F-46BA-A617-2A049434CD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3088" y="476251"/>
            <a:ext cx="256032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4869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4153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ck 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5D9DB7BA-3A2F-46BA-A617-2A049434CD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3088" y="476251"/>
            <a:ext cx="256032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9704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903795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5680762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2320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27737869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9301390" cy="45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32pt, Ericsson Black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D879308-9DFF-0CEC-1F55-9C5411C0DE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424" y="982979"/>
            <a:ext cx="9301390" cy="275410"/>
          </a:xfrm>
          <a:noFill/>
        </p:spPr>
        <p:txBody>
          <a:bodyPr anchor="ctr"/>
          <a:lstStyle>
            <a:lvl1pPr marL="0" indent="0">
              <a:buNone/>
              <a:defRPr sz="1200" spc="0" baseline="0">
                <a:latin typeface="+mj-lt"/>
              </a:defRPr>
            </a:lvl1pPr>
            <a:lvl2pPr marL="265113" indent="0">
              <a:buNone/>
              <a:defRPr spc="0" baseline="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95661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D74E2A4-3CE7-5AEC-F931-B2C987C7E1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2" r="-82" b="15661"/>
          <a:stretch/>
        </p:blipFill>
        <p:spPr>
          <a:xfrm>
            <a:off x="0" y="0"/>
            <a:ext cx="12202004" cy="6858000"/>
          </a:xfrm>
          <a:prstGeom prst="rect">
            <a:avLst/>
          </a:prstGeom>
        </p:spPr>
      </p:pic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9113067" cy="45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32pt, Ericsson Black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D879308-9DFF-0CEC-1F55-9C5411C0DE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424" y="982979"/>
            <a:ext cx="9113067" cy="275410"/>
          </a:xfrm>
          <a:noFill/>
        </p:spPr>
        <p:txBody>
          <a:bodyPr anchor="ctr"/>
          <a:lstStyle>
            <a:lvl1pPr marL="0" indent="0">
              <a:buNone/>
              <a:defRPr sz="1200" spc="0" baseline="0">
                <a:latin typeface="+mj-lt"/>
              </a:defRPr>
            </a:lvl1pPr>
            <a:lvl2pPr marL="265113" indent="0">
              <a:buNone/>
              <a:defRPr spc="0" baseline="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1081BBF-D5EC-5414-0644-DA18F9847F8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93088" y="476251"/>
            <a:ext cx="256032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3281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looking up to the sky&#10;&#10;Description automatically generated">
            <a:extLst>
              <a:ext uri="{FF2B5EF4-FFF2-40B4-BE49-F238E27FC236}">
                <a16:creationId xmlns:a16="http://schemas.microsoft.com/office/drawing/2014/main" id="{56813195-71E7-1603-B42D-4EC6B5101E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10014405" cy="45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32pt, Ericsson Black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D879308-9DFF-0CEC-1F55-9C5411C0DE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424" y="982979"/>
            <a:ext cx="10014405" cy="275410"/>
          </a:xfrm>
          <a:noFill/>
        </p:spPr>
        <p:txBody>
          <a:bodyPr anchor="ctr"/>
          <a:lstStyle>
            <a:lvl1pPr marL="0" indent="0">
              <a:buNone/>
              <a:defRPr sz="1400" spc="0" baseline="0">
                <a:latin typeface="+mj-lt"/>
              </a:defRPr>
            </a:lvl1pPr>
            <a:lvl2pPr marL="265113" indent="0">
              <a:buNone/>
              <a:defRPr spc="0" baseline="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0BE8EFD-E32B-F652-5445-A922EFE1884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93088" y="476251"/>
            <a:ext cx="256032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3212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looking up to the sky&#10;&#10;Description automatically generated">
            <a:extLst>
              <a:ext uri="{FF2B5EF4-FFF2-40B4-BE49-F238E27FC236}">
                <a16:creationId xmlns:a16="http://schemas.microsoft.com/office/drawing/2014/main" id="{56813195-71E7-1603-B42D-4EC6B5101E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10014405" cy="45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32pt, Ericsson Black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D879308-9DFF-0CEC-1F55-9C5411C0DE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424" y="982979"/>
            <a:ext cx="10014405" cy="275410"/>
          </a:xfrm>
          <a:noFill/>
        </p:spPr>
        <p:txBody>
          <a:bodyPr anchor="ctr"/>
          <a:lstStyle>
            <a:lvl1pPr marL="0" indent="0">
              <a:buNone/>
              <a:defRPr sz="1400" spc="0" baseline="0">
                <a:latin typeface="+mj-lt"/>
              </a:defRPr>
            </a:lvl1pPr>
            <a:lvl2pPr marL="265113" indent="0">
              <a:buNone/>
              <a:defRPr spc="0" baseline="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0BE8EFD-E32B-F652-5445-A922EFE1884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93088" y="476251"/>
            <a:ext cx="256032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9489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SM">
            <a:extLst>
              <a:ext uri="{FF2B5EF4-FFF2-40B4-BE49-F238E27FC236}">
                <a16:creationId xmlns:a16="http://schemas.microsoft.com/office/drawing/2014/main" id="{0F9B8209-CCF1-AB91-A7B0-77233D650509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10014405" cy="45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32pt, Ericsson Black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F096F9AD-AA80-269C-F0AE-29E379000E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424" y="982979"/>
            <a:ext cx="10014405" cy="275410"/>
          </a:xfrm>
          <a:noFill/>
        </p:spPr>
        <p:txBody>
          <a:bodyPr anchor="ctr"/>
          <a:lstStyle>
            <a:lvl1pPr marL="0" indent="0">
              <a:buNone/>
              <a:defRPr sz="1400" spc="0" baseline="0">
                <a:latin typeface="+mj-lt"/>
              </a:defRPr>
            </a:lvl1pPr>
            <a:lvl2pPr marL="265113" indent="0">
              <a:buNone/>
              <a:defRPr spc="0" baseline="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33385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ck 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E0D2D4F-D3BD-0854-24A7-D69C0CEF35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1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5" name="Title_SM">
            <a:extLst>
              <a:ext uri="{FF2B5EF4-FFF2-40B4-BE49-F238E27FC236}">
                <a16:creationId xmlns:a16="http://schemas.microsoft.com/office/drawing/2014/main" id="{4C620BA6-7A83-6FA7-2D46-9D2AAAA691F3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10014405" cy="45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32pt, Ericsson Black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CA5FB52-B8A6-71F0-5DE9-138C642030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424" y="982979"/>
            <a:ext cx="10014405" cy="275410"/>
          </a:xfrm>
          <a:noFill/>
        </p:spPr>
        <p:txBody>
          <a:bodyPr anchor="ctr"/>
          <a:lstStyle>
            <a:lvl1pPr marL="0" indent="0">
              <a:buNone/>
              <a:defRPr sz="1400" spc="0" baseline="0">
                <a:latin typeface="+mj-lt"/>
              </a:defRPr>
            </a:lvl1pPr>
            <a:lvl2pPr marL="265113" indent="0">
              <a:buNone/>
              <a:defRPr spc="0" baseline="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51373698-5BAD-06D6-A158-EF539C33C7ED}"/>
              </a:ext>
            </a:extLst>
          </p:cNvPr>
          <p:cNvSpPr txBox="1"/>
          <p:nvPr userDrawn="1"/>
        </p:nvSpPr>
        <p:spPr>
          <a:xfrm>
            <a:off x="396000" y="6524625"/>
            <a:ext cx="486190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r>
              <a:rPr lang="en-US" sz="800" b="0" i="0" u="none">
                <a:solidFill>
                  <a:schemeClr val="tx1"/>
                </a:solidFill>
                <a:latin typeface="+mn-lt"/>
              </a:rPr>
              <a:t>  |  EPHILFR Philipp Frank  |  A  |  2023-09-08  |  CNS AI Differentiators  |  Ericsson Confidential  |  Page </a:t>
            </a:r>
            <a:fld id="{0B0BFD62-E257-4FCA-B906-B8FE6B7D9467}" type="slidenum">
              <a:rPr lang="en-US" sz="800" b="0" i="0" u="none" smtClean="0">
                <a:solidFill>
                  <a:schemeClr val="tx1"/>
                </a:solidFill>
                <a:latin typeface="+mn-lt"/>
              </a:rPr>
              <a:t>‹#›</a:t>
            </a:fld>
            <a:r>
              <a:rPr lang="en-US" sz="800" b="0" i="0" u="none">
                <a:solidFill>
                  <a:schemeClr val="tx1"/>
                </a:solidFill>
                <a:latin typeface="+mn-lt"/>
              </a:rPr>
              <a:t> of 7</a:t>
            </a:r>
          </a:p>
        </p:txBody>
      </p:sp>
    </p:spTree>
    <p:extLst>
      <p:ext uri="{BB962C8B-B14F-4D97-AF65-F5344CB8AC3E}">
        <p14:creationId xmlns:p14="http://schemas.microsoft.com/office/powerpoint/2010/main" val="1967283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view of earth from space&#10;&#10;Description automatically generated with low confidence">
            <a:extLst>
              <a:ext uri="{FF2B5EF4-FFF2-40B4-BE49-F238E27FC236}">
                <a16:creationId xmlns:a16="http://schemas.microsoft.com/office/drawing/2014/main" id="{15115C58-5CA5-A3B2-1F84-741AD73E3A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4"/>
          <a:stretch/>
        </p:blipFill>
        <p:spPr>
          <a:xfrm>
            <a:off x="0" y="-1"/>
            <a:ext cx="12192000" cy="1682497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421CD10-E826-46DD-E1DB-04CA0DF1DE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93088" y="476251"/>
            <a:ext cx="256032" cy="256032"/>
          </a:xfrm>
          <a:prstGeom prst="rect">
            <a:avLst/>
          </a:prstGeom>
        </p:spPr>
      </p:pic>
      <p:sp>
        <p:nvSpPr>
          <p:cNvPr id="5" name="Title_SM">
            <a:extLst>
              <a:ext uri="{FF2B5EF4-FFF2-40B4-BE49-F238E27FC236}">
                <a16:creationId xmlns:a16="http://schemas.microsoft.com/office/drawing/2014/main" id="{9C4780AD-2BB2-96A0-D72C-90CC2FB9B212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9301390" cy="45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lide title, Ericsson Hilda Light 32pt, Ericsson Black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80C0F8-C0E2-12DB-B19C-705EC6B4E7C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424" y="982979"/>
            <a:ext cx="9301390" cy="275410"/>
          </a:xfrm>
          <a:noFill/>
        </p:spPr>
        <p:txBody>
          <a:bodyPr anchor="ctr"/>
          <a:lstStyle>
            <a:lvl1pPr marL="0" indent="0">
              <a:buNone/>
              <a:defRPr sz="1200" spc="0" baseline="0">
                <a:solidFill>
                  <a:schemeClr val="bg1"/>
                </a:solidFill>
                <a:latin typeface="+mj-lt"/>
              </a:defRPr>
            </a:lvl1pPr>
            <a:lvl2pPr marL="265113" indent="0">
              <a:buNone/>
              <a:defRPr spc="0" baseline="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71851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6869961-F931-4F1E-9FB3-8587EBA3F36F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D9DB7BA-3A2F-46BA-A617-2A049434CD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3088" y="476251"/>
            <a:ext cx="256032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4747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view of earth from space&#10;&#10;Description automatically generated with low confidence">
            <a:extLst>
              <a:ext uri="{FF2B5EF4-FFF2-40B4-BE49-F238E27FC236}">
                <a16:creationId xmlns:a16="http://schemas.microsoft.com/office/drawing/2014/main" id="{15115C58-5CA5-A3B2-1F84-741AD73E3A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4"/>
          <a:stretch/>
        </p:blipFill>
        <p:spPr>
          <a:xfrm>
            <a:off x="0" y="-1"/>
            <a:ext cx="12192000" cy="1682497"/>
          </a:xfrm>
          <a:prstGeom prst="rect">
            <a:avLst/>
          </a:prstGeom>
        </p:spPr>
      </p:pic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9365616" cy="617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421CD10-E826-46DD-E1DB-04CA0DF1DE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93088" y="476251"/>
            <a:ext cx="256032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5252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B59FF7B7-A5C2-19B9-A430-CF954A8738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3088" y="476251"/>
            <a:ext cx="256032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34948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1 colum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105219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layout for document slides when you need space for a long heading and big content are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CFEFC-6AC8-4817-A0D3-6029D48BD29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11233150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689785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1 colum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105219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layout for document slides when you need space for a long heading and big content area</a:t>
            </a:r>
          </a:p>
        </p:txBody>
      </p:sp>
    </p:spTree>
    <p:extLst>
      <p:ext uri="{BB962C8B-B14F-4D97-AF65-F5344CB8AC3E}">
        <p14:creationId xmlns:p14="http://schemas.microsoft.com/office/powerpoint/2010/main" val="245030082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smalle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_SM">
            <a:extLst>
              <a:ext uri="{FF2B5EF4-FFF2-40B4-BE49-F238E27FC236}">
                <a16:creationId xmlns:a16="http://schemas.microsoft.com/office/drawing/2014/main" id="{3F4EF873-DC0F-4698-BEC2-502DB043AA5C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layout for presentations using short and crisp heading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84F54AF-EED6-486A-9ACA-42061F4AAE9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9425" y="1844675"/>
            <a:ext cx="8353426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864135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_SM">
            <a:extLst>
              <a:ext uri="{FF2B5EF4-FFF2-40B4-BE49-F238E27FC236}">
                <a16:creationId xmlns:a16="http://schemas.microsoft.com/office/drawing/2014/main" id="{891BF4C4-9DF9-4D9F-A738-37FBCD45AA68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79425" y="1844675"/>
            <a:ext cx="5472113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6240463" y="1844674"/>
            <a:ext cx="5472112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323712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_SM">
            <a:extLst>
              <a:ext uri="{FF2B5EF4-FFF2-40B4-BE49-F238E27FC236}">
                <a16:creationId xmlns:a16="http://schemas.microsoft.com/office/drawing/2014/main" id="{6B686A21-AA96-4B0A-B7CE-F4C6D5D31B32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479425" y="2042413"/>
            <a:ext cx="3528000" cy="4196779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4332814" y="2040508"/>
            <a:ext cx="3528000" cy="4196779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8E3794F8-471D-4987-945F-3C29BB03AB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84575" y="2040380"/>
            <a:ext cx="3528000" cy="419881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823492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_SM">
            <a:extLst>
              <a:ext uri="{FF2B5EF4-FFF2-40B4-BE49-F238E27FC236}">
                <a16:creationId xmlns:a16="http://schemas.microsoft.com/office/drawing/2014/main" id="{6B686A21-AA96-4B0A-B7CE-F4C6D5D31B32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479425" y="2042413"/>
            <a:ext cx="3528000" cy="4196779"/>
          </a:xfrm>
          <a:prstGeom prst="homePlate">
            <a:avLst>
              <a:gd name="adj" fmla="val 12080"/>
            </a:avLst>
          </a:prstGeom>
          <a:solidFill>
            <a:schemeClr val="tx1">
              <a:lumMod val="10000"/>
              <a:lumOff val="90000"/>
            </a:schemeClr>
          </a:solidFill>
        </p:spPr>
        <p:txBody>
          <a:bodyPr rIns="27432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1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D3B9467-CBC0-BD8A-5299-5DB59A94F4D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32000" y="2042413"/>
            <a:ext cx="3528000" cy="4196779"/>
          </a:xfrm>
          <a:prstGeom prst="homePlate">
            <a:avLst>
              <a:gd name="adj" fmla="val 12080"/>
            </a:avLst>
          </a:prstGeom>
          <a:solidFill>
            <a:schemeClr val="tx1">
              <a:lumMod val="10000"/>
              <a:lumOff val="90000"/>
            </a:schemeClr>
          </a:solidFill>
        </p:spPr>
        <p:txBody>
          <a:bodyPr rIns="27432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1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054F290C-E952-8AF2-5372-454CB7C5A6E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84575" y="2042413"/>
            <a:ext cx="3528000" cy="4196779"/>
          </a:xfrm>
          <a:prstGeom prst="homePlate">
            <a:avLst>
              <a:gd name="adj" fmla="val 12080"/>
            </a:avLst>
          </a:prstGeom>
          <a:solidFill>
            <a:schemeClr val="tx1">
              <a:lumMod val="10000"/>
              <a:lumOff val="90000"/>
            </a:schemeClr>
          </a:solidFill>
        </p:spPr>
        <p:txBody>
          <a:bodyPr rIns="27432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1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5953085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_SM">
            <a:extLst>
              <a:ext uri="{FF2B5EF4-FFF2-40B4-BE49-F238E27FC236}">
                <a16:creationId xmlns:a16="http://schemas.microsoft.com/office/drawing/2014/main" id="{6B686A21-AA96-4B0A-B7CE-F4C6D5D31B32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479425" y="2560423"/>
            <a:ext cx="3528000" cy="3678769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1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4332814" y="2558518"/>
            <a:ext cx="3528000" cy="3678769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1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8E3794F8-471D-4987-945F-3C29BB03AB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84575" y="2558641"/>
            <a:ext cx="3528000" cy="3680552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1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C399F3B-C8F9-3918-A82A-EF7A3AEE958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79425" y="1900870"/>
            <a:ext cx="3528000" cy="65764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</a:t>
            </a:r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8DE33588-B339-3FB5-5036-F0E7AECFB1D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332814" y="1900870"/>
            <a:ext cx="3528000" cy="65764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E06EC4E5-0179-46D7-73B1-9C046D4BD84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184575" y="1900870"/>
            <a:ext cx="3528000" cy="65764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</a:t>
            </a:r>
          </a:p>
        </p:txBody>
      </p:sp>
    </p:spTree>
    <p:extLst>
      <p:ext uri="{BB962C8B-B14F-4D97-AF65-F5344CB8AC3E}">
        <p14:creationId xmlns:p14="http://schemas.microsoft.com/office/powerpoint/2010/main" val="124188156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_SM">
            <a:extLst>
              <a:ext uri="{FF2B5EF4-FFF2-40B4-BE49-F238E27FC236}">
                <a16:creationId xmlns:a16="http://schemas.microsoft.com/office/drawing/2014/main" id="{6B686A21-AA96-4B0A-B7CE-F4C6D5D31B32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479425" y="2558580"/>
            <a:ext cx="2468880" cy="3678769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tIns="91440"/>
          <a:lstStyle>
            <a:lvl1pPr>
              <a:defRPr sz="1100">
                <a:solidFill>
                  <a:schemeClr val="tx1"/>
                </a:solidFill>
              </a:defRPr>
            </a:lvl1pPr>
            <a:lvl2pPr>
              <a:defRPr sz="11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3370269" y="2558580"/>
            <a:ext cx="2468880" cy="3678769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tIns="91440"/>
          <a:lstStyle>
            <a:lvl1pPr>
              <a:defRPr sz="1100">
                <a:solidFill>
                  <a:schemeClr val="tx1"/>
                </a:solidFill>
              </a:defRPr>
            </a:lvl1pPr>
            <a:lvl2pPr>
              <a:defRPr sz="11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8E3794F8-471D-4987-945F-3C29BB03AB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61113" y="2557688"/>
            <a:ext cx="2468880" cy="3680552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tIns="91440"/>
          <a:lstStyle>
            <a:lvl1pPr>
              <a:defRPr sz="1100">
                <a:solidFill>
                  <a:schemeClr val="tx1"/>
                </a:solidFill>
              </a:defRPr>
            </a:lvl1pPr>
            <a:lvl2pPr>
              <a:defRPr sz="11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C399F3B-C8F9-3918-A82A-EF7A3AEE958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79425" y="1900870"/>
            <a:ext cx="2468880" cy="657647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</a:t>
            </a:r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8DE33588-B339-3FB5-5036-F0E7AECFB1D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370269" y="1900870"/>
            <a:ext cx="2468880" cy="657647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E06EC4E5-0179-46D7-73B1-9C046D4BD84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61113" y="1900870"/>
            <a:ext cx="2468880" cy="657647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F84C86EB-7453-9899-E7DD-8F8DD7E49A7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9151958" y="2557688"/>
            <a:ext cx="2468880" cy="3680552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tIns="91440"/>
          <a:lstStyle>
            <a:lvl1pPr>
              <a:defRPr sz="1100">
                <a:solidFill>
                  <a:schemeClr val="tx1"/>
                </a:solidFill>
              </a:defRPr>
            </a:lvl1pPr>
            <a:lvl2pPr>
              <a:defRPr sz="11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062BDF99-B191-A90F-0BA1-A9381092DFF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151958" y="1898964"/>
            <a:ext cx="2468880" cy="657647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</a:t>
            </a:r>
          </a:p>
        </p:txBody>
      </p:sp>
    </p:spTree>
    <p:extLst>
      <p:ext uri="{BB962C8B-B14F-4D97-AF65-F5344CB8AC3E}">
        <p14:creationId xmlns:p14="http://schemas.microsoft.com/office/powerpoint/2010/main" val="21118235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34154561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_SM">
            <a:extLst>
              <a:ext uri="{FF2B5EF4-FFF2-40B4-BE49-F238E27FC236}">
                <a16:creationId xmlns:a16="http://schemas.microsoft.com/office/drawing/2014/main" id="{F4D71A67-F349-4E68-B7B8-D53CE323A764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4"/>
            <a:ext cx="2592388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359149" y="1844674"/>
            <a:ext cx="2592389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240463" y="1844674"/>
            <a:ext cx="2592388" cy="439261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9120188" y="1844674"/>
            <a:ext cx="2592387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348157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_SM">
            <a:extLst>
              <a:ext uri="{FF2B5EF4-FFF2-40B4-BE49-F238E27FC236}">
                <a16:creationId xmlns:a16="http://schemas.microsoft.com/office/drawing/2014/main" id="{2C948968-FB06-45CC-8259-6BDE4430EACB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81655" y="1844674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2694" y="1847723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4" hasCustomPrompt="1"/>
          </p:nvPr>
        </p:nvSpPr>
        <p:spPr>
          <a:xfrm>
            <a:off x="6242694" y="4151955"/>
            <a:ext cx="5472113" cy="2087564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5BD2C41D-0700-4885-AB77-25AFFE4E1FD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1655" y="4152597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8262613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8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_SM">
            <a:extLst>
              <a:ext uri="{FF2B5EF4-FFF2-40B4-BE49-F238E27FC236}">
                <a16:creationId xmlns:a16="http://schemas.microsoft.com/office/drawing/2014/main" id="{99858DC4-E787-41D2-A613-961D60F89117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10406289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77908" y="2489922"/>
            <a:ext cx="3657600" cy="164592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lIns="72000" tIns="9144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8145594" y="2489922"/>
            <a:ext cx="3657600" cy="164592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lIns="72000" tIns="9144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spcBef>
                <a:spcPts val="0"/>
              </a:spcBef>
              <a:defRPr sz="1100">
                <a:solidFill>
                  <a:schemeClr val="tx1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3"/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477908" y="4732865"/>
            <a:ext cx="3657600" cy="164592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lIns="72000" tIns="9144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4" hasCustomPrompt="1"/>
          </p:nvPr>
        </p:nvSpPr>
        <p:spPr>
          <a:xfrm>
            <a:off x="8145594" y="4732865"/>
            <a:ext cx="3657600" cy="164592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lIns="72000" tIns="9144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4312286" y="2489922"/>
            <a:ext cx="3657600" cy="164592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lIns="72000" tIns="9144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4312286" y="4732865"/>
            <a:ext cx="3657600" cy="164592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lIns="72000" tIns="9144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2E671775-C10C-5AC5-FC4C-25C714D49E7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77908" y="2033786"/>
            <a:ext cx="3657600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66AD54B3-2D5E-F77A-950D-4B2DA8A084A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45594" y="2033786"/>
            <a:ext cx="3657600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spcBef>
                <a:spcPts val="0"/>
              </a:spcBef>
              <a:defRPr sz="1100">
                <a:solidFill>
                  <a:schemeClr val="tx1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2D86FAC5-A046-C2FA-599A-A0D7BDBBAE5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312286" y="2033786"/>
            <a:ext cx="3657600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20" name="Content Placeholder 1">
            <a:extLst>
              <a:ext uri="{FF2B5EF4-FFF2-40B4-BE49-F238E27FC236}">
                <a16:creationId xmlns:a16="http://schemas.microsoft.com/office/drawing/2014/main" id="{28A895C7-D6BD-272A-76C9-3F2FD462C4B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77908" y="4275665"/>
            <a:ext cx="3657600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2ABC73BE-70CA-9030-C7D9-D86050186FF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145594" y="4275665"/>
            <a:ext cx="3657600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spcBef>
                <a:spcPts val="0"/>
              </a:spcBef>
              <a:defRPr sz="1100">
                <a:solidFill>
                  <a:schemeClr val="tx1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22" name="Content Placeholder 5">
            <a:extLst>
              <a:ext uri="{FF2B5EF4-FFF2-40B4-BE49-F238E27FC236}">
                <a16:creationId xmlns:a16="http://schemas.microsoft.com/office/drawing/2014/main" id="{E4BCFD1B-4A21-29AC-7E81-0A8ABC32E0C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312286" y="4275665"/>
            <a:ext cx="3657600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</p:spTree>
    <p:extLst>
      <p:ext uri="{BB962C8B-B14F-4D97-AF65-F5344CB8AC3E}">
        <p14:creationId xmlns:p14="http://schemas.microsoft.com/office/powerpoint/2010/main" val="153464568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8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_SM">
            <a:extLst>
              <a:ext uri="{FF2B5EF4-FFF2-40B4-BE49-F238E27FC236}">
                <a16:creationId xmlns:a16="http://schemas.microsoft.com/office/drawing/2014/main" id="{99858DC4-E787-41D2-A613-961D60F89117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10558689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77908" y="2489922"/>
            <a:ext cx="3657600" cy="164592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lIns="72000" tIns="9144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8145594" y="2489922"/>
            <a:ext cx="3657600" cy="164592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lIns="72000" tIns="9144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spcBef>
                <a:spcPts val="0"/>
              </a:spcBef>
              <a:defRPr sz="1100">
                <a:solidFill>
                  <a:schemeClr val="tx1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3"/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477908" y="4732865"/>
            <a:ext cx="3657600" cy="164592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lIns="72000" tIns="9144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4" hasCustomPrompt="1"/>
          </p:nvPr>
        </p:nvSpPr>
        <p:spPr>
          <a:xfrm>
            <a:off x="8145594" y="4732865"/>
            <a:ext cx="3657600" cy="164592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lIns="72000" tIns="9144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4312286" y="2489922"/>
            <a:ext cx="3657600" cy="164592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lIns="72000" tIns="9144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4312286" y="4732865"/>
            <a:ext cx="3657600" cy="164592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lIns="72000" tIns="9144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2E671775-C10C-5AC5-FC4C-25C714D49E7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77908" y="2033786"/>
            <a:ext cx="3657600" cy="457200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66AD54B3-2D5E-F77A-950D-4B2DA8A084A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45594" y="2033786"/>
            <a:ext cx="3657600" cy="457200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spcBef>
                <a:spcPts val="0"/>
              </a:spcBef>
              <a:defRPr sz="1100">
                <a:solidFill>
                  <a:schemeClr val="tx1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2D86FAC5-A046-C2FA-599A-A0D7BDBBAE5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312286" y="2033786"/>
            <a:ext cx="3657600" cy="457200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20" name="Content Placeholder 1">
            <a:extLst>
              <a:ext uri="{FF2B5EF4-FFF2-40B4-BE49-F238E27FC236}">
                <a16:creationId xmlns:a16="http://schemas.microsoft.com/office/drawing/2014/main" id="{28A895C7-D6BD-272A-76C9-3F2FD462C4B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77908" y="4275665"/>
            <a:ext cx="3657600" cy="457200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2ABC73BE-70CA-9030-C7D9-D86050186FF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145594" y="4275665"/>
            <a:ext cx="3657600" cy="457200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spcBef>
                <a:spcPts val="0"/>
              </a:spcBef>
              <a:defRPr sz="1100">
                <a:solidFill>
                  <a:schemeClr val="tx1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22" name="Content Placeholder 5">
            <a:extLst>
              <a:ext uri="{FF2B5EF4-FFF2-40B4-BE49-F238E27FC236}">
                <a16:creationId xmlns:a16="http://schemas.microsoft.com/office/drawing/2014/main" id="{E4BCFD1B-4A21-29AC-7E81-0A8ABC32E0C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312286" y="4275665"/>
            <a:ext cx="3657600" cy="457200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</p:spTree>
    <p:extLst>
      <p:ext uri="{BB962C8B-B14F-4D97-AF65-F5344CB8AC3E}">
        <p14:creationId xmlns:p14="http://schemas.microsoft.com/office/powerpoint/2010/main" val="404128865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8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_SM">
            <a:extLst>
              <a:ext uri="{FF2B5EF4-FFF2-40B4-BE49-F238E27FC236}">
                <a16:creationId xmlns:a16="http://schemas.microsoft.com/office/drawing/2014/main" id="{99858DC4-E787-41D2-A613-961D60F89117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76453" y="2254303"/>
            <a:ext cx="2560320" cy="18288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vert="horz" lIns="72000" tIns="91440" rIns="72000" bIns="3600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</a:lstStyle>
          <a:p>
            <a:pPr lvl="0">
              <a:spcBef>
                <a:spcPts val="0"/>
              </a:spcBef>
            </a:pPr>
            <a:r>
              <a:rPr lang="en-US"/>
              <a:t>For heading, use Ericsson Hilda in bold. For copy and bullets, use E. Hilda.</a:t>
            </a:r>
          </a:p>
          <a:p>
            <a:pPr lvl="0">
              <a:spcBef>
                <a:spcPts val="0"/>
              </a:spcBef>
            </a:pPr>
            <a:r>
              <a:rPr lang="en-US"/>
              <a:t>First level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38044" y="2254302"/>
            <a:ext cx="2560320" cy="18288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vert="horz" lIns="72000" tIns="91440" rIns="72000" bIns="3600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4pPr>
              <a:defRPr lang="en-US" sz="900" dirty="0"/>
            </a:lvl4pPr>
          </a:lstStyle>
          <a:p>
            <a:pPr lvl="0">
              <a:spcBef>
                <a:spcPts val="0"/>
              </a:spcBef>
            </a:pPr>
            <a:r>
              <a:rPr lang="en-US"/>
              <a:t>For heading, use Ericsson Hilda in bold. For copy and bullets, use E. Hilda.</a:t>
            </a:r>
          </a:p>
          <a:p>
            <a:pPr lvl="0">
              <a:spcBef>
                <a:spcPts val="0"/>
              </a:spcBef>
            </a:pPr>
            <a:r>
              <a:rPr lang="en-US"/>
              <a:t>First level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  <a:p>
            <a:pPr lvl="3"/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476453" y="4552223"/>
            <a:ext cx="2560320" cy="18288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vert="horz" lIns="72000" tIns="91440" rIns="72000" bIns="3600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</a:lstStyle>
          <a:p>
            <a:pPr lvl="0">
              <a:spcBef>
                <a:spcPts val="0"/>
              </a:spcBef>
            </a:pPr>
            <a:r>
              <a:rPr lang="en-US"/>
              <a:t>For heading, use Ericsson Hilda in bold. For copy and bullets, use E. Hilda.</a:t>
            </a:r>
          </a:p>
          <a:p>
            <a:pPr lvl="0">
              <a:spcBef>
                <a:spcPts val="0"/>
              </a:spcBef>
            </a:pPr>
            <a:r>
              <a:rPr lang="en-US"/>
              <a:t>First level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4" hasCustomPrompt="1"/>
          </p:nvPr>
        </p:nvSpPr>
        <p:spPr>
          <a:xfrm>
            <a:off x="6238044" y="4552334"/>
            <a:ext cx="2560320" cy="18288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vert="horz" lIns="72000" tIns="91440" rIns="72000" bIns="3600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</a:lstStyle>
          <a:p>
            <a:pPr lvl="0">
              <a:spcBef>
                <a:spcPts val="0"/>
              </a:spcBef>
            </a:pPr>
            <a:r>
              <a:rPr lang="en-US"/>
              <a:t>For heading, use Ericsson Hilda in bold. For copy and bullets, use E. Hilda.</a:t>
            </a:r>
          </a:p>
          <a:p>
            <a:pPr lvl="0">
              <a:spcBef>
                <a:spcPts val="0"/>
              </a:spcBef>
            </a:pPr>
            <a:r>
              <a:rPr lang="en-US"/>
              <a:t>First level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3356180" y="2254302"/>
            <a:ext cx="2560320" cy="18288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vert="horz" lIns="72000" tIns="91440" rIns="72000" bIns="3600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</a:lstStyle>
          <a:p>
            <a:pPr lvl="0">
              <a:spcBef>
                <a:spcPts val="0"/>
              </a:spcBef>
            </a:pPr>
            <a:r>
              <a:rPr lang="en-US"/>
              <a:t>For heading, use Ericsson Hilda in bold. For copy and bullets, use E. Hilda.</a:t>
            </a:r>
          </a:p>
          <a:p>
            <a:pPr lvl="0">
              <a:spcBef>
                <a:spcPts val="0"/>
              </a:spcBef>
            </a:pPr>
            <a:r>
              <a:rPr lang="en-US"/>
              <a:t>First level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3356180" y="4552950"/>
            <a:ext cx="2560320" cy="18288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vert="horz" lIns="72000" tIns="91440" rIns="72000" bIns="3600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</a:lstStyle>
          <a:p>
            <a:pPr lvl="0">
              <a:spcBef>
                <a:spcPts val="0"/>
              </a:spcBef>
            </a:pPr>
            <a:r>
              <a:rPr lang="en-US"/>
              <a:t>For heading, use Ericsson Hilda in bold. For copy and bullets, use E. Hilda.</a:t>
            </a:r>
          </a:p>
          <a:p>
            <a:pPr lvl="0">
              <a:spcBef>
                <a:spcPts val="0"/>
              </a:spcBef>
            </a:pPr>
            <a:r>
              <a:rPr lang="en-US"/>
              <a:t>First level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9117216" y="2254302"/>
            <a:ext cx="2560320" cy="18288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vert="horz" lIns="72000" tIns="91440" rIns="72000" bIns="3600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  <a:lvl4pPr>
              <a:defRPr lang="en-US" sz="900" dirty="0"/>
            </a:lvl4pPr>
          </a:lstStyle>
          <a:p>
            <a:pPr lvl="0">
              <a:spcBef>
                <a:spcPts val="0"/>
              </a:spcBef>
            </a:pPr>
            <a:r>
              <a:rPr lang="en-US"/>
              <a:t>For heading, use Ericsson Hilda in bold. For copy and bullets, use E. Hilda.</a:t>
            </a:r>
          </a:p>
          <a:p>
            <a:pPr lvl="0">
              <a:spcBef>
                <a:spcPts val="0"/>
              </a:spcBef>
            </a:pPr>
            <a:r>
              <a:rPr lang="en-US"/>
              <a:t>First level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  <a:p>
            <a:pPr lvl="3"/>
            <a:endParaRPr lang="en-US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9117216" y="4552950"/>
            <a:ext cx="2560320" cy="18288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vert="horz" lIns="72000" tIns="91440" rIns="72000" bIns="36000" rtlCol="0">
            <a:noAutofit/>
          </a:bodyPr>
          <a:lstStyle>
            <a:lvl1pPr>
              <a:defRPr lang="en-US" sz="900" dirty="0"/>
            </a:lvl1pPr>
            <a:lvl2pPr>
              <a:defRPr lang="en-US" sz="900" dirty="0"/>
            </a:lvl2pPr>
          </a:lstStyle>
          <a:p>
            <a:pPr lvl="0">
              <a:spcBef>
                <a:spcPts val="0"/>
              </a:spcBef>
            </a:pPr>
            <a:r>
              <a:rPr lang="en-US"/>
              <a:t>For heading, use Ericsson Hilda in bold. For copy and bullets, use E. Hilda.</a:t>
            </a:r>
          </a:p>
          <a:p>
            <a:pPr lvl="0">
              <a:spcBef>
                <a:spcPts val="0"/>
              </a:spcBef>
            </a:pPr>
            <a:r>
              <a:rPr lang="en-US"/>
              <a:t>First level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F2B1587-FD34-2513-9090-DBDE253086C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76453" y="1878292"/>
            <a:ext cx="2560320" cy="3760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73A899C4-6C63-6412-30D1-7F5D31EA321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356180" y="1878288"/>
            <a:ext cx="2560320" cy="3760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E62A3F32-A8C3-C040-EF64-341CFA13D7A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38044" y="1878290"/>
            <a:ext cx="2560320" cy="3760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083BB6F0-49AD-7CDC-A544-81E2CABAE40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9117216" y="1878290"/>
            <a:ext cx="2560320" cy="3760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15" name="Content Placeholder 1">
            <a:extLst>
              <a:ext uri="{FF2B5EF4-FFF2-40B4-BE49-F238E27FC236}">
                <a16:creationId xmlns:a16="http://schemas.microsoft.com/office/drawing/2014/main" id="{56150977-4E59-423A-4E95-33546DBCD966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76453" y="4176207"/>
            <a:ext cx="2560320" cy="3760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3F105B2F-68F4-2326-B135-31FB0DBB622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56180" y="4176203"/>
            <a:ext cx="2560320" cy="3760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92014E54-B72A-809A-E31B-A81C2F06483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38044" y="4176205"/>
            <a:ext cx="2560320" cy="3760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AC600DF3-DC32-7CCA-4D0F-8A891FD32AB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117216" y="4176205"/>
            <a:ext cx="2560320" cy="3760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72000" tIns="36000" anchor="ctr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Ericsson Hilda ExtraBold" panose="00000900000000000000" pitchFamily="2" charset="0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</p:txBody>
      </p:sp>
    </p:spTree>
    <p:extLst>
      <p:ext uri="{BB962C8B-B14F-4D97-AF65-F5344CB8AC3E}">
        <p14:creationId xmlns:p14="http://schemas.microsoft.com/office/powerpoint/2010/main" val="101821595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8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_SM">
            <a:extLst>
              <a:ext uri="{FF2B5EF4-FFF2-40B4-BE49-F238E27FC236}">
                <a16:creationId xmlns:a16="http://schemas.microsoft.com/office/drawing/2014/main" id="{99858DC4-E787-41D2-A613-961D60F89117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81560" y="1844675"/>
            <a:ext cx="2592389" cy="208915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vert="horz" lIns="72000" tIns="91440" rIns="72000" bIns="36000" rtlCol="0">
            <a:noAutofit/>
          </a:bodyPr>
          <a:lstStyle>
            <a:lvl1pPr>
              <a:defRPr lang="en-US" sz="1100" dirty="0"/>
            </a:lvl1pPr>
            <a:lvl2pPr>
              <a:defRPr lang="en-US" sz="1100" dirty="0"/>
            </a:lvl2pPr>
          </a:lstStyle>
          <a:p>
            <a:pPr lvl="0">
              <a:spcBef>
                <a:spcPts val="0"/>
              </a:spcBef>
            </a:pPr>
            <a:r>
              <a:rPr lang="en-US"/>
              <a:t>For heading, use Ericsson Hilda in bold. For copy and bullets, use E. Hilda.</a:t>
            </a:r>
          </a:p>
          <a:p>
            <a:pPr lvl="0">
              <a:spcBef>
                <a:spcPts val="0"/>
              </a:spcBef>
            </a:pPr>
            <a:r>
              <a:rPr lang="en-US"/>
              <a:t>First level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3216" y="1844674"/>
            <a:ext cx="2592387" cy="208915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vert="horz" lIns="72000" tIns="91440" rIns="72000" bIns="36000" rtlCol="0">
            <a:noAutofit/>
          </a:bodyPr>
          <a:lstStyle>
            <a:lvl1pPr>
              <a:defRPr lang="en-US" sz="1100" dirty="0"/>
            </a:lvl1pPr>
            <a:lvl2pPr>
              <a:defRPr lang="en-US" sz="1100" dirty="0"/>
            </a:lvl2pPr>
            <a:lvl4pPr>
              <a:defRPr lang="en-US" dirty="0"/>
            </a:lvl4pPr>
          </a:lstStyle>
          <a:p>
            <a:pPr lvl="0">
              <a:spcBef>
                <a:spcPts val="0"/>
              </a:spcBef>
            </a:pPr>
            <a:r>
              <a:rPr lang="en-US"/>
              <a:t>For heading, use Ericsson Hilda in bold. For copy and bullets, use E. Hilda.</a:t>
            </a:r>
          </a:p>
          <a:p>
            <a:pPr lvl="0">
              <a:spcBef>
                <a:spcPts val="0"/>
              </a:spcBef>
            </a:pPr>
            <a:r>
              <a:rPr lang="en-US"/>
              <a:t>First level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  <a:p>
            <a:pPr lvl="3"/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481561" y="4151134"/>
            <a:ext cx="2592389" cy="2087563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vert="horz" lIns="72000" tIns="91440" rIns="72000" bIns="36000" rtlCol="0">
            <a:noAutofit/>
          </a:bodyPr>
          <a:lstStyle>
            <a:lvl1pPr>
              <a:defRPr lang="en-US" sz="1100" dirty="0"/>
            </a:lvl1pPr>
            <a:lvl2pPr>
              <a:defRPr lang="en-US" sz="1100" dirty="0"/>
            </a:lvl2pPr>
          </a:lstStyle>
          <a:p>
            <a:pPr lvl="0">
              <a:spcBef>
                <a:spcPts val="0"/>
              </a:spcBef>
            </a:pPr>
            <a:r>
              <a:rPr lang="en-US"/>
              <a:t>For heading, use Ericsson Hilda in bold. For copy and bullets, use E. Hilda.</a:t>
            </a:r>
          </a:p>
          <a:p>
            <a:pPr lvl="0">
              <a:spcBef>
                <a:spcPts val="0"/>
              </a:spcBef>
            </a:pPr>
            <a:r>
              <a:rPr lang="en-US"/>
              <a:t>First level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4" hasCustomPrompt="1"/>
          </p:nvPr>
        </p:nvSpPr>
        <p:spPr>
          <a:xfrm>
            <a:off x="6243152" y="4151245"/>
            <a:ext cx="2592387" cy="2086292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vert="horz" lIns="72000" tIns="91440" rIns="72000" bIns="36000" rtlCol="0">
            <a:noAutofit/>
          </a:bodyPr>
          <a:lstStyle>
            <a:lvl1pPr>
              <a:defRPr lang="en-US" sz="1100" dirty="0"/>
            </a:lvl1pPr>
            <a:lvl2pPr>
              <a:defRPr lang="en-US" sz="1100" dirty="0"/>
            </a:lvl2pPr>
          </a:lstStyle>
          <a:p>
            <a:pPr lvl="0">
              <a:spcBef>
                <a:spcPts val="0"/>
              </a:spcBef>
            </a:pPr>
            <a:r>
              <a:rPr lang="en-US"/>
              <a:t>For heading, use Ericsson Hilda in bold. For copy and bullets, use E. Hilda.</a:t>
            </a:r>
          </a:p>
          <a:p>
            <a:pPr lvl="0">
              <a:spcBef>
                <a:spcPts val="0"/>
              </a:spcBef>
            </a:pPr>
            <a:r>
              <a:rPr lang="en-US"/>
              <a:t>First level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3359835" y="1844674"/>
            <a:ext cx="2592388" cy="208915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vert="horz" lIns="72000" tIns="91440" rIns="72000" bIns="36000" rtlCol="0">
            <a:noAutofit/>
          </a:bodyPr>
          <a:lstStyle>
            <a:lvl1pPr>
              <a:defRPr lang="en-US" sz="1100" dirty="0"/>
            </a:lvl1pPr>
            <a:lvl2pPr>
              <a:defRPr lang="en-US" sz="1100" dirty="0"/>
            </a:lvl2pPr>
          </a:lstStyle>
          <a:p>
            <a:pPr lvl="0">
              <a:spcBef>
                <a:spcPts val="0"/>
              </a:spcBef>
            </a:pPr>
            <a:r>
              <a:rPr lang="en-US"/>
              <a:t>For heading, use Ericsson Hilda in bold. For copy and bullets, use E. Hilda.</a:t>
            </a:r>
          </a:p>
          <a:p>
            <a:pPr lvl="0">
              <a:spcBef>
                <a:spcPts val="0"/>
              </a:spcBef>
            </a:pPr>
            <a:r>
              <a:rPr lang="en-US"/>
              <a:t>First level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3361288" y="4151861"/>
            <a:ext cx="2592387" cy="2087563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vert="horz" lIns="72000" tIns="91440" rIns="72000" bIns="36000" rtlCol="0">
            <a:noAutofit/>
          </a:bodyPr>
          <a:lstStyle>
            <a:lvl1pPr>
              <a:defRPr lang="en-US" sz="1100" dirty="0"/>
            </a:lvl1pPr>
            <a:lvl2pPr>
              <a:defRPr lang="en-US" sz="1100" dirty="0"/>
            </a:lvl2pPr>
          </a:lstStyle>
          <a:p>
            <a:pPr lvl="0">
              <a:spcBef>
                <a:spcPts val="0"/>
              </a:spcBef>
            </a:pPr>
            <a:r>
              <a:rPr lang="en-US"/>
              <a:t>For heading, use Ericsson Hilda in bold. For copy and bullets, use E. Hilda.</a:t>
            </a:r>
          </a:p>
          <a:p>
            <a:pPr lvl="0">
              <a:spcBef>
                <a:spcPts val="0"/>
              </a:spcBef>
            </a:pPr>
            <a:r>
              <a:rPr lang="en-US"/>
              <a:t>First level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9122324" y="1844674"/>
            <a:ext cx="2592387" cy="2089151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vert="horz" lIns="72000" tIns="91440" rIns="72000" bIns="36000" rtlCol="0">
            <a:noAutofit/>
          </a:bodyPr>
          <a:lstStyle>
            <a:lvl1pPr>
              <a:defRPr lang="en-US" sz="1100" dirty="0"/>
            </a:lvl1pPr>
            <a:lvl2pPr>
              <a:defRPr lang="en-US" sz="1100" dirty="0"/>
            </a:lvl2pPr>
            <a:lvl4pPr>
              <a:defRPr lang="en-US" dirty="0"/>
            </a:lvl4pPr>
          </a:lstStyle>
          <a:p>
            <a:pPr lvl="0">
              <a:spcBef>
                <a:spcPts val="0"/>
              </a:spcBef>
            </a:pPr>
            <a:r>
              <a:rPr lang="en-US"/>
              <a:t>For heading, use Ericsson Hilda in bold. For copy and bullets, use E. Hilda.</a:t>
            </a:r>
          </a:p>
          <a:p>
            <a:pPr lvl="0">
              <a:spcBef>
                <a:spcPts val="0"/>
              </a:spcBef>
            </a:pPr>
            <a:r>
              <a:rPr lang="en-US"/>
              <a:t>First level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  <a:p>
            <a:pPr lvl="3"/>
            <a:endParaRPr lang="en-US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9122324" y="4151861"/>
            <a:ext cx="2592387" cy="2087562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vert="horz" lIns="72000" tIns="91440" rIns="72000" bIns="36000" rtlCol="0">
            <a:noAutofit/>
          </a:bodyPr>
          <a:lstStyle>
            <a:lvl1pPr>
              <a:defRPr lang="en-US" sz="1100" dirty="0"/>
            </a:lvl1pPr>
            <a:lvl2pPr>
              <a:defRPr lang="en-US" sz="1100" dirty="0"/>
            </a:lvl2pPr>
          </a:lstStyle>
          <a:p>
            <a:pPr lvl="0">
              <a:spcBef>
                <a:spcPts val="0"/>
              </a:spcBef>
            </a:pPr>
            <a:r>
              <a:rPr lang="en-US"/>
              <a:t>For heading, use Ericsson Hilda in bold. For copy and bullets, use E. Hilda.</a:t>
            </a:r>
          </a:p>
          <a:p>
            <a:pPr lvl="0">
              <a:spcBef>
                <a:spcPts val="0"/>
              </a:spcBef>
            </a:pPr>
            <a:r>
              <a:rPr lang="en-US"/>
              <a:t>First level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961913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logo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_TM">
            <a:extLst>
              <a:ext uri="{FF2B5EF4-FFF2-40B4-BE49-F238E27FC236}">
                <a16:creationId xmlns:a16="http://schemas.microsoft.com/office/drawing/2014/main" id="{B200748E-0B61-48E1-8B47-504C30250995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71813" y="4309200"/>
            <a:ext cx="6048375" cy="347472"/>
          </a:xfrm>
          <a:prstGeom prst="rect">
            <a:avLst/>
          </a:prstGeom>
        </p:spPr>
        <p:txBody>
          <a:bodyPr rIns="7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Use this space for relevant Ericsson URLs or hashtag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979B00C-7C1F-4F17-8D52-31D787A123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06895" y="2854112"/>
            <a:ext cx="1163145" cy="1163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29785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bedded charac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99AF35DD-3E5E-42CB-AFA5-5E09E14F72A4}"/>
              </a:ext>
            </a:extLst>
          </p:cNvPr>
          <p:cNvSpPr txBox="1"/>
          <p:nvPr userDrawn="1"/>
        </p:nvSpPr>
        <p:spPr bwMode="auto">
          <a:xfrm>
            <a:off x="479425" y="142897"/>
            <a:ext cx="11233149" cy="6561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r>
              <a:rPr lang="en-US" sz="1400" b="1">
                <a:solidFill>
                  <a:schemeClr val="tx1"/>
                </a:solidFill>
                <a:latin typeface="+mn-lt"/>
              </a:rPr>
              <a:t>This Master Slide is to ensure that all our characters are embedded with the presentation. Should not be used in a presentation.</a:t>
            </a:r>
            <a:endParaRPr lang="en-US"/>
          </a:p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endParaRPr lang="en-US" sz="1400" b="1">
              <a:solidFill>
                <a:schemeClr val="tx1"/>
              </a:solidFill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u="sng" err="1">
                <a:solidFill>
                  <a:schemeClr val="tx1"/>
                </a:solidFill>
                <a:latin typeface="Ericsson Hilda ExtraLight" panose="00000300000000000000" pitchFamily="2" charset="0"/>
              </a:rPr>
              <a:t>EricssonHilda</a:t>
            </a:r>
            <a:r>
              <a:rPr lang="en-US" sz="1200" u="sng">
                <a:solidFill>
                  <a:schemeClr val="tx1"/>
                </a:solidFill>
                <a:latin typeface="Ericsson Hilda ExtraLight" panose="00000300000000000000" pitchFamily="2" charset="0"/>
              </a:rPr>
              <a:t>(</a:t>
            </a:r>
            <a:r>
              <a:rPr lang="en-US" sz="1200" u="sng" err="1">
                <a:solidFill>
                  <a:schemeClr val="tx1"/>
                </a:solidFill>
                <a:latin typeface="Ericsson Hilda ExtraLight" panose="00000300000000000000" pitchFamily="2" charset="0"/>
              </a:rPr>
              <a:t>ExtraLight</a:t>
            </a:r>
            <a:r>
              <a:rPr lang="en-US" sz="1200" u="sng">
                <a:solidFill>
                  <a:schemeClr val="tx1"/>
                </a:solidFill>
                <a:latin typeface="Ericsson Hilda ExtraLight" panose="00000300000000000000" pitchFamily="2" charset="0"/>
              </a:rPr>
              <a:t>):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!"#$%&amp;'()*+,./0123456789:;&lt;=&gt;?@ABCDEFGHIJKLMNOPQRSTUVWXYZ[\]^_`</a:t>
            </a:r>
            <a:r>
              <a:rPr lang="en-US" sz="1200" err="1">
                <a:solidFill>
                  <a:schemeClr val="tx1"/>
                </a:solidFill>
                <a:latin typeface="Ericsson Hilda ExtraLight" panose="00000300000000000000" pitchFamily="2" charset="0"/>
              </a:rPr>
              <a:t>abcdefghijklmnopqrstuvwxyz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200" kern="1200">
                <a:solidFill>
                  <a:schemeClr val="tx1"/>
                </a:solidFill>
                <a:latin typeface="Ericsson Hilda ExtraLight" panose="00000300000000000000" pitchFamily="2" charset="0"/>
                <a:ea typeface="+mn-ea"/>
                <a:cs typeface="+mn-cs"/>
              </a:rPr>
              <a:t>Čč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200" err="1">
                <a:solidFill>
                  <a:schemeClr val="tx1"/>
                </a:solidFill>
                <a:latin typeface="Ericsson Hilda ExtraLight" panose="00000300000000000000" pitchFamily="2" charset="0"/>
              </a:rPr>
              <a:t>ẀẁẃẄẅỲỳ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err="1">
                <a:solidFill>
                  <a:schemeClr val="tx1"/>
                </a:solidFill>
                <a:latin typeface="Ericsson Hilda ExtraLight" panose="00000300000000000000" pitchFamily="2" charset="0"/>
              </a:rPr>
              <a:t>ﬁﬂΆΈΉΊΌΎΏΐΑΒΓΕΖΗΘΙΚΛΜΝΞΟΠΡΣΤΥΦΧΨΪΫΆΈΉΊΰ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u="sng" err="1">
                <a:solidFill>
                  <a:schemeClr val="tx1"/>
                </a:solidFill>
                <a:latin typeface="+mj-lt"/>
              </a:rPr>
              <a:t>EricssonHilda</a:t>
            </a:r>
            <a:r>
              <a:rPr lang="en-US" sz="1200" u="sng">
                <a:solidFill>
                  <a:schemeClr val="tx1"/>
                </a:solidFill>
                <a:latin typeface="+mj-lt"/>
              </a:rPr>
              <a:t>(Light):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!"#$%&amp;'()*+,./0123456789:;&lt;=&gt;?@ABCDEFGHIJKLMNOPQRSTUVWXYZ[\]^_`</a:t>
            </a:r>
            <a:r>
              <a:rPr lang="en-US" sz="1200" err="1">
                <a:solidFill>
                  <a:schemeClr val="tx1"/>
                </a:solidFill>
                <a:latin typeface="+mj-lt"/>
              </a:rPr>
              <a:t>abcdefghijklmnopqrstuvwxyz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Čč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200" err="1">
                <a:solidFill>
                  <a:schemeClr val="tx1"/>
                </a:solidFill>
                <a:latin typeface="+mj-lt"/>
              </a:rPr>
              <a:t>ẀẁẃẄẅỲỳ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err="1">
                <a:solidFill>
                  <a:schemeClr val="tx1"/>
                </a:solidFill>
                <a:latin typeface="+mj-lt"/>
              </a:rPr>
              <a:t>ﬁﬂΆΈΉΊΌΎΏΐΑΒΓΕΖΗΘΙΚΛΜΝΞΟΠΡΣΤΥΦΧΨΪΫΆΈΉΊΰ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</a:t>
            </a:r>
            <a:r>
              <a:rPr lang="en-US" sz="1200">
                <a:solidFill>
                  <a:schemeClr val="tx1"/>
                </a:solidFill>
                <a:latin typeface="Ericsson Hilda Light" panose="00000400000000000000" pitchFamily="2" charset="0"/>
              </a:rPr>
              <a:t>●</a:t>
            </a:r>
            <a:endParaRPr lang="en-US" sz="1200">
              <a:solidFill>
                <a:schemeClr val="tx1"/>
              </a:solidFill>
            </a:endParaRPr>
          </a:p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r>
              <a:rPr lang="en-US" sz="1200" u="sng" err="1">
                <a:solidFill>
                  <a:schemeClr val="tx1"/>
                </a:solidFill>
                <a:latin typeface="+mn-lt"/>
              </a:rPr>
              <a:t>EricssonHilda</a:t>
            </a:r>
            <a:r>
              <a:rPr lang="en-US" sz="1200" u="sng">
                <a:solidFill>
                  <a:schemeClr val="tx1"/>
                </a:solidFill>
                <a:latin typeface="+mn-lt"/>
              </a:rPr>
              <a:t>(Regular):</a:t>
            </a:r>
            <a:r>
              <a:rPr lang="en-US" sz="1200">
                <a:solidFill>
                  <a:schemeClr val="tx1"/>
                </a:solidFill>
                <a:latin typeface="+mn-lt"/>
              </a:rPr>
              <a:t>!"#$%&amp;'()*+,./0123456789:;&lt;=&gt;?@ABCDEFGHIJKLMNOPQRSTUVWXYZ[\]^_`</a:t>
            </a:r>
            <a:r>
              <a:rPr lang="en-US" sz="1200" err="1">
                <a:solidFill>
                  <a:schemeClr val="tx1"/>
                </a:solidFill>
                <a:latin typeface="+mn-lt"/>
              </a:rPr>
              <a:t>abcdefghijklmnopqrstuvwxyz</a:t>
            </a:r>
            <a:r>
              <a:rPr lang="en-US" sz="1200">
                <a:solidFill>
                  <a:schemeClr val="tx1"/>
                </a:solidFill>
                <a:latin typeface="+mn-lt"/>
              </a:rPr>
              <a:t>{|}~¡¢£¤¥¦§¨©ª«¬®¯°±²³´¶·¸¹º»¼½ÀÁÂÃÄÅÆÇÈËÌÍÎÏÐÑÒÓÔÕÖ×ØÙÚÛÜÝÞßàáâãäåæçèéêëìíîïðñòóôõö÷øùúûüýþÿĀāĂăąĆćĊċČčĎďĐđĒĖėĘęĚěĞğĠġĢģĪīĮįİıĶķĹĺĻļĽľŁłŃńŅņŇňŌŐőŒœŔŕŖŗŘřŚśŞşŠšŢţŤťŪūŮůŰűŲųŴŵŶŷŸŹźŻżŽžƒȘșˆˇ˘˙˚˛˜˝</a:t>
            </a:r>
            <a:r>
              <a:rPr lang="en-US" sz="1200" err="1">
                <a:solidFill>
                  <a:schemeClr val="tx1"/>
                </a:solidFill>
                <a:latin typeface="+mn-lt"/>
              </a:rPr>
              <a:t>ẀẁẃẄẅỲỳ</a:t>
            </a:r>
            <a:r>
              <a:rPr lang="en-US" sz="1200">
                <a:solidFill>
                  <a:schemeClr val="tx1"/>
                </a:solidFill>
                <a:latin typeface="+mn-lt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err="1">
                <a:solidFill>
                  <a:schemeClr val="tx1"/>
                </a:solidFill>
                <a:latin typeface="+mn-lt"/>
              </a:rPr>
              <a:t>ﬁﬂΆΈΉΊΌΎΏΐΑΒΓΕΖΗΘΙΚΛΜΝΞΟΠΡΣΤΥΦΧΨΪΫΆΈΉΊΰ</a:t>
            </a:r>
            <a:r>
              <a:rPr lang="en-US" sz="1200">
                <a:solidFill>
                  <a:schemeClr val="tx1"/>
                </a:solidFill>
                <a:latin typeface="+mn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b="1" u="sng" err="1">
                <a:solidFill>
                  <a:schemeClr val="tx1"/>
                </a:solidFill>
                <a:latin typeface="+mj-lt"/>
              </a:rPr>
              <a:t>EricssonHildaLight+Bold</a:t>
            </a:r>
            <a:r>
              <a:rPr lang="en-US" sz="1200" b="1" u="sng">
                <a:solidFill>
                  <a:schemeClr val="tx1"/>
                </a:solidFill>
                <a:latin typeface="+mj-lt"/>
              </a:rPr>
              <a:t>(Medium):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!"#$%&amp;'()*+,./0123456789:;&lt;=&gt;?@ABCDEFGHIJKLMNOPQRSTUVWXYZ[\]^_`</a:t>
            </a:r>
            <a:r>
              <a:rPr lang="en-US" sz="1200" b="1" err="1">
                <a:solidFill>
                  <a:schemeClr val="tx1"/>
                </a:solidFill>
                <a:latin typeface="+mj-lt"/>
              </a:rPr>
              <a:t>abcdefghijklmnopqrstuvwxyz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Čč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200" b="1" err="1">
                <a:solidFill>
                  <a:schemeClr val="tx1"/>
                </a:solidFill>
                <a:latin typeface="+mj-lt"/>
              </a:rPr>
              <a:t>ẀẁẃẄẅỲỳ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b="1" err="1">
                <a:solidFill>
                  <a:schemeClr val="tx1"/>
                </a:solidFill>
                <a:latin typeface="+mj-lt"/>
              </a:rPr>
              <a:t>ﬁﬂΆΈΉΊΌΎΏΐΑΒΓΕΖΗΘΙΚΛΜΝΞΟΠΡΣΤΥΦΧΨΪΫΆΈΉΊΰ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</a:t>
            </a:r>
            <a:r>
              <a:rPr lang="en-US" sz="1200" b="1">
                <a:solidFill>
                  <a:schemeClr val="tx1"/>
                </a:solidFill>
                <a:latin typeface="Ericsson Hilda Light" panose="00000400000000000000" pitchFamily="2" charset="0"/>
              </a:rPr>
              <a:t>●</a:t>
            </a:r>
            <a:endParaRPr lang="en-US" sz="1200" b="1">
              <a:solidFill>
                <a:schemeClr val="tx1"/>
              </a:solidFill>
              <a:latin typeface="+mj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b="1" u="sng" err="1">
                <a:solidFill>
                  <a:schemeClr val="tx1"/>
                </a:solidFill>
                <a:latin typeface="+mn-lt"/>
              </a:rPr>
              <a:t>EricssonHilda+Bold</a:t>
            </a:r>
            <a:r>
              <a:rPr lang="en-US" sz="1200" b="1" u="sng">
                <a:solidFill>
                  <a:schemeClr val="tx1"/>
                </a:solidFill>
                <a:latin typeface="+mn-lt"/>
              </a:rPr>
              <a:t>(Bold):</a:t>
            </a:r>
            <a:r>
              <a:rPr lang="en-US" sz="1200" b="1">
                <a:solidFill>
                  <a:schemeClr val="tx1"/>
                </a:solidFill>
                <a:latin typeface="+mn-lt"/>
              </a:rPr>
              <a:t>!"#$%&amp;'()*+,./0123456789:;&lt;=&gt;?@ABCDEFGHIJKLMNOPQRSTUVWXYZ[\]^_`</a:t>
            </a:r>
            <a:r>
              <a:rPr lang="en-US" sz="1200" b="1" err="1">
                <a:solidFill>
                  <a:schemeClr val="tx1"/>
                </a:solidFill>
                <a:latin typeface="+mn-lt"/>
              </a:rPr>
              <a:t>abcdefghijklmnopqrstuvwxyz</a:t>
            </a:r>
            <a:r>
              <a:rPr lang="en-US" sz="1200" b="1">
                <a:solidFill>
                  <a:schemeClr val="tx1"/>
                </a:solidFill>
                <a:latin typeface="+mn-lt"/>
              </a:rPr>
              <a:t>{|}~¡¢£¤¥¦§¨©ª«¬®¯°±²³´¶·¸¹º»¼½ÀÁÂÃÄÅÆÇÈËÌÍÎÏÐÑÒÓÔÕÖ×ØÙÚÛÜÝÞßàáâãäåæçèéêëìíîïðñòóôõö÷øùúûüýþÿĀāĂăąĆćĊċČčĎďĐđĒĖėĘęĚěĞğĠġĢģĪīĮįİıĶķĹĺĻļĽľŁłŃńŅņŇňŌŐőŒœŔŕŖŗŘřŚśŞşŠšŢţŤťŪūŮůŰűŲųŴŵŶŷŸŹźŻżŽžƒȘșˆˇ˘˙˚˛˜˝</a:t>
            </a:r>
            <a:r>
              <a:rPr lang="en-US" sz="1200" b="1" err="1">
                <a:solidFill>
                  <a:schemeClr val="tx1"/>
                </a:solidFill>
                <a:latin typeface="+mn-lt"/>
              </a:rPr>
              <a:t>ẀẁẃẄẅỲỳ</a:t>
            </a:r>
            <a:r>
              <a:rPr lang="en-US" sz="1200" b="1">
                <a:solidFill>
                  <a:schemeClr val="tx1"/>
                </a:solidFill>
                <a:latin typeface="+mn-lt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b="1" err="1">
                <a:solidFill>
                  <a:schemeClr val="tx1"/>
                </a:solidFill>
                <a:latin typeface="+mn-lt"/>
              </a:rPr>
              <a:t>ﬁﬂΆΈΉΊΌΎΏΐΑΒΓΕΖΗΘΙΚΛΜΝΞΟΠΡΣΤΥΦΧΨΪΫΆΈΉΊΰ</a:t>
            </a:r>
            <a:r>
              <a:rPr lang="en-US" sz="1200" b="1">
                <a:solidFill>
                  <a:schemeClr val="tx1"/>
                </a:solidFill>
                <a:latin typeface="+mn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 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b="0" u="sng" err="1">
                <a:solidFill>
                  <a:schemeClr val="tx1"/>
                </a:solidFill>
                <a:latin typeface="Ericsson Hilda ExtraBold" panose="00000900000000000000" pitchFamily="2" charset="0"/>
              </a:rPr>
              <a:t>EricssonHilda</a:t>
            </a:r>
            <a:r>
              <a:rPr lang="en-US" sz="1200" b="0" u="sng">
                <a:solidFill>
                  <a:schemeClr val="tx1"/>
                </a:solidFill>
                <a:latin typeface="Ericsson Hilda ExtraBold" panose="00000900000000000000" pitchFamily="2" charset="0"/>
              </a:rPr>
              <a:t>(</a:t>
            </a:r>
            <a:r>
              <a:rPr lang="en-US" sz="1200" b="0" u="sng" err="1">
                <a:solidFill>
                  <a:schemeClr val="tx1"/>
                </a:solidFill>
                <a:latin typeface="Ericsson Hilda ExtraBold" panose="00000900000000000000" pitchFamily="2" charset="0"/>
              </a:rPr>
              <a:t>ExtraBold</a:t>
            </a:r>
            <a:r>
              <a:rPr lang="en-US" sz="1200" b="0" u="sng">
                <a:solidFill>
                  <a:schemeClr val="tx1"/>
                </a:solidFill>
                <a:latin typeface="Ericsson Hilda ExtraBold" panose="00000900000000000000" pitchFamily="2" charset="0"/>
              </a:rPr>
              <a:t>):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!"#$%&amp;'()*+,./0123456789:;&lt;=&gt;?@ABCDEFGHIJKLMNOPQRSTUVWXYZ[\]^_`</a:t>
            </a:r>
            <a:r>
              <a:rPr lang="en-US" sz="1200" b="0" err="1">
                <a:solidFill>
                  <a:schemeClr val="tx1"/>
                </a:solidFill>
                <a:latin typeface="Ericsson Hilda ExtraBold" panose="00000900000000000000" pitchFamily="2" charset="0"/>
              </a:rPr>
              <a:t>abcdefghijklmnopqrstuvwxyz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200" b="0" kern="1200">
                <a:solidFill>
                  <a:schemeClr val="tx1"/>
                </a:solidFill>
                <a:latin typeface="Ericsson Hilda ExtraBold" panose="00000900000000000000" pitchFamily="2" charset="0"/>
                <a:ea typeface="+mn-ea"/>
                <a:cs typeface="+mn-cs"/>
              </a:rPr>
              <a:t>Čč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200" b="0" err="1">
                <a:solidFill>
                  <a:schemeClr val="tx1"/>
                </a:solidFill>
                <a:latin typeface="Ericsson Hilda ExtraBold" panose="00000900000000000000" pitchFamily="2" charset="0"/>
              </a:rPr>
              <a:t>ẀẁẃẄẅỲỳ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b="0" err="1">
                <a:solidFill>
                  <a:schemeClr val="tx1"/>
                </a:solidFill>
                <a:latin typeface="Ericsson Hilda ExtraBold" panose="00000900000000000000" pitchFamily="2" charset="0"/>
              </a:rPr>
              <a:t>ﬁﬂΆΈΉΊΌΎΏΐΑΒΓΕΖΗΘΙΚΛΜΝΞΟΠΡΣΤΥΦΧΨΪΫΆΈΉΊΰ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endParaRPr lang="en-US" sz="1200" b="1">
              <a:solidFill>
                <a:schemeClr val="tx1"/>
              </a:solidFill>
              <a:latin typeface="Ericsson Technical Ico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b="1">
                <a:solidFill>
                  <a:schemeClr val="tx1"/>
                </a:solidFill>
                <a:latin typeface="Ericsson Technical Icons" panose="00000500000000000000" pitchFamily="2" charset="0"/>
              </a:rPr>
              <a:t>B C D F G H I L M O P R S W X b c d f g h I l m o p r s w x</a:t>
            </a:r>
            <a:endParaRPr lang="en-US" sz="1200" b="1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96541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_SM">
            <a:extLst>
              <a:ext uri="{FF2B5EF4-FFF2-40B4-BE49-F238E27FC236}">
                <a16:creationId xmlns:a16="http://schemas.microsoft.com/office/drawing/2014/main" id="{6B686A21-AA96-4B0A-B7CE-F4C6D5D31B32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481052" y="1846580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4332814" y="1844674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8E3794F8-471D-4987-945F-3C29BB03AB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84575" y="1846580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6473031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8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_SM">
            <a:extLst>
              <a:ext uri="{FF2B5EF4-FFF2-40B4-BE49-F238E27FC236}">
                <a16:creationId xmlns:a16="http://schemas.microsoft.com/office/drawing/2014/main" id="{99858DC4-E787-41D2-A613-961D60F89117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81560" y="1844675"/>
            <a:ext cx="2592389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3216" y="1844674"/>
            <a:ext cx="2592387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3"/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481561" y="4151134"/>
            <a:ext cx="2592389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4" hasCustomPrompt="1"/>
          </p:nvPr>
        </p:nvSpPr>
        <p:spPr>
          <a:xfrm>
            <a:off x="6243152" y="4151245"/>
            <a:ext cx="2592387" cy="2086292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3359835" y="1844674"/>
            <a:ext cx="2592388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3361288" y="4151861"/>
            <a:ext cx="2592387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9122324" y="1844674"/>
            <a:ext cx="2592387" cy="2089151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3"/>
            <a:endParaRPr lang="en-US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9122324" y="4151861"/>
            <a:ext cx="2592387" cy="2087562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45732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105219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layout for document slides when you need space for a long heading and big content are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CFEFC-6AC8-4817-A0D3-6029D48BD29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11233150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4333896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1548355-d009-41d1-8805-a2726ff6a8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4D93672-2A04-4EF3-916F-2C920729FB07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>
              <a:latin typeface="Ericsson Hilda Light" panose="00000400000000000000" pitchFamily="2" charset="0"/>
              <a:cs typeface="+mn-cs"/>
            </a:endParaRPr>
          </a:p>
        </p:txBody>
      </p:sp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D510456-FEBC-46FA-B25A-B809F2C18A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  <p:sp>
        <p:nvSpPr>
          <p:cNvPr id="7" name="FirstDividerHider">
            <a:extLst>
              <a:ext uri="{FF2B5EF4-FFF2-40B4-BE49-F238E27FC236}">
                <a16:creationId xmlns:a16="http://schemas.microsoft.com/office/drawing/2014/main" id="{4EDD5C80-CD72-4597-8F70-395B8174120F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1837397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b76f10e-1c71-4bdc-b2f6-56fe3be7b39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5" name="FirstDividerHider">
            <a:extLst>
              <a:ext uri="{FF2B5EF4-FFF2-40B4-BE49-F238E27FC236}">
                <a16:creationId xmlns:a16="http://schemas.microsoft.com/office/drawing/2014/main" id="{CA0A38D4-B093-4CE6-9935-648A137BFECE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2374291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>
            <a:spLocks noGrp="1"/>
          </p:cNvSpPr>
          <p:nvPr>
            <p:ph type="sldNum" sz="quarter" idx="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rPr lang="en-US"/>
              <a:t>‹#›</a:t>
            </a:fld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078936" y="1482831"/>
            <a:ext cx="2149434" cy="195477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250" b="0" i="0">
                <a:solidFill>
                  <a:schemeClr val="bg1">
                    <a:lumMod val="50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06321" y="1482831"/>
            <a:ext cx="5341107" cy="195477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250" b="0" i="0">
                <a:solidFill>
                  <a:schemeClr val="bg1">
                    <a:lumMod val="50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734106" y="1482831"/>
            <a:ext cx="2378866" cy="195477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250" b="0" i="0">
                <a:solidFill>
                  <a:schemeClr val="bg1">
                    <a:lumMod val="50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262906" y="3499200"/>
            <a:ext cx="2850066" cy="195477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250" b="0" i="0">
                <a:solidFill>
                  <a:schemeClr val="bg1">
                    <a:lumMod val="50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283527" y="3499200"/>
            <a:ext cx="1898675" cy="195477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250" b="0" i="0">
                <a:solidFill>
                  <a:schemeClr val="bg1">
                    <a:lumMod val="50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302327" y="3499200"/>
            <a:ext cx="1898675" cy="195477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250" b="0" i="0">
                <a:solidFill>
                  <a:schemeClr val="bg1">
                    <a:lumMod val="50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1078936" y="3499200"/>
            <a:ext cx="3140866" cy="195477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250" b="0" i="0">
                <a:solidFill>
                  <a:schemeClr val="bg1">
                    <a:lumMod val="50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2553551"/>
      </p:ext>
    </p:extLst>
  </p:cSld>
  <p:clrMapOvr>
    <a:masterClrMapping/>
  </p:clrMapOvr>
  <p:transition spd="med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7EFA6A-26BC-43AB-A3CE-6956A0330C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2037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7EFA6A-26BC-43AB-A3CE-6956A0330C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65B1A2F-5924-47FE-80DA-99B9FCE32573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6"/>
          </a:xfrm>
        </p:spPr>
        <p:txBody>
          <a:bodyPr anchor="b"/>
          <a:lstStyle>
            <a:lvl1pPr>
              <a:lnSpc>
                <a:spcPct val="85000"/>
              </a:lnSpc>
              <a:defRPr sz="6000" b="0" kern="1400" spc="-16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Ericsson Hilda Light" panose="00000400000000000000" pitchFamily="50" charset="0"/>
              </a:defRPr>
            </a:lvl1pPr>
          </a:lstStyle>
          <a:p>
            <a:r>
              <a:rPr lang="en-US"/>
              <a:t>Presentation title,</a:t>
            </a:r>
            <a:br>
              <a:rPr lang="en-US"/>
            </a:br>
            <a:r>
              <a:rPr lang="en-US"/>
              <a:t>Ericsson Hilda Light 60pt,</a:t>
            </a:r>
            <a:br>
              <a:rPr lang="en-US"/>
            </a:br>
            <a:r>
              <a:rPr lang="en-US"/>
              <a:t>Ericsson Black,</a:t>
            </a:r>
            <a:br>
              <a:rPr lang="en-US"/>
            </a:br>
            <a:r>
              <a:rPr lang="en-US"/>
              <a:t>max 4-lines</a:t>
            </a:r>
          </a:p>
        </p:txBody>
      </p:sp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1249589"/>
          </a:xfrm>
          <a:prstGeom prst="rect">
            <a:avLst/>
          </a:prstGeom>
        </p:spPr>
        <p:txBody>
          <a:bodyPr l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1pPr>
          </a:lstStyle>
          <a:p>
            <a:r>
              <a:rPr lang="en-US"/>
              <a:t>Presentation description/subtitle</a:t>
            </a:r>
            <a:br>
              <a:rPr lang="en-US"/>
            </a:br>
            <a:r>
              <a:rPr lang="en-US"/>
              <a:t>Ericsson Hilda 20pt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6671733" y="6237286"/>
            <a:ext cx="347980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anchor="b"/>
          <a:lstStyle>
            <a:lvl1pPr marL="0" indent="0" algn="ctr">
              <a:buNone/>
              <a:defRPr lang="en-US" sz="1600" dirty="0"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1pPr>
          </a:lstStyle>
          <a:p>
            <a:r>
              <a:rPr lang="en-US"/>
              <a:t>Organization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10253133" y="6237287"/>
            <a:ext cx="1456321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0" rIns="0" anchor="b"/>
          <a:lstStyle>
            <a:lvl1pPr marL="0" indent="0" algn="r">
              <a:buNone/>
              <a:defRPr lang="en-US" sz="1600" dirty="0"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1pPr>
          </a:lstStyle>
          <a:p>
            <a:pPr lvl="0"/>
            <a:r>
              <a:rPr lang="en-US"/>
              <a:t>YYYY-MM-DD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7BE5E08-5EB6-4E17-8FB8-40199F9803E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2514" y="476250"/>
            <a:ext cx="190061" cy="256032"/>
          </a:xfrm>
          <a:prstGeom prst="rect">
            <a:avLst/>
          </a:prstGeom>
          <a:ln>
            <a:noFill/>
          </a:ln>
        </p:spPr>
      </p:pic>
      <p:sp>
        <p:nvSpPr>
          <p:cNvPr id="9" name="Content Placeholder 11">
            <a:extLst>
              <a:ext uri="{FF2B5EF4-FFF2-40B4-BE49-F238E27FC236}">
                <a16:creationId xmlns:a16="http://schemas.microsoft.com/office/drawing/2014/main" id="{2368A70D-747D-424D-AB09-8AF9F3525E4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79425" y="6237286"/>
            <a:ext cx="444500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anchor="b"/>
          <a:lstStyle>
            <a:lvl1pPr marL="0" indent="0" algn="l">
              <a:buNone/>
              <a:defRPr lang="en-US" sz="1600" dirty="0"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1pPr>
          </a:lstStyle>
          <a:p>
            <a:r>
              <a:rPr lang="en-US"/>
              <a:t>Confidentiality / Disclaimer</a:t>
            </a:r>
          </a:p>
        </p:txBody>
      </p:sp>
    </p:spTree>
    <p:extLst>
      <p:ext uri="{BB962C8B-B14F-4D97-AF65-F5344CB8AC3E}">
        <p14:creationId xmlns:p14="http://schemas.microsoft.com/office/powerpoint/2010/main" val="3183878210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87B7DD-83C6-409F-96FA-5864761AC5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023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87B7DD-83C6-409F-96FA-5864761AC5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4BAE6F-72EF-4EFC-9748-FF23A50211C8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91AC90A-E5DC-4F17-9A19-0764F46A5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52453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6A931-A898-408C-932E-47C14DDBC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789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6A931-A898-408C-932E-47C14DDBC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A704E47-1A71-4997-B55B-E0E91DB0059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CFEFC-6AC8-4817-A0D3-6029D48BD29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11233150" cy="892552"/>
          </a:xfrm>
          <a:prstGeom prst="rect">
            <a:avLst/>
          </a:prstGeom>
        </p:spPr>
        <p:txBody>
          <a:bodyPr>
            <a:noAutofit/>
          </a:bodyPr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53C49B2-6D12-4F88-9218-C66DDED3D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504495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1 smalle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0ACA97-4ED5-4F20-9D65-2327DE6476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3566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0ACA97-4ED5-4F20-9D65-2327DE6476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0BB62F3-B838-4286-BD57-8E1E6683804A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CFEFC-6AC8-4817-A0D3-6029D48BD29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8353426" cy="892552"/>
          </a:xfrm>
          <a:prstGeom prst="rect">
            <a:avLst/>
          </a:prstGeom>
        </p:spPr>
        <p:txBody>
          <a:bodyPr>
            <a:noAutofit/>
          </a:bodyPr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6144E3-12A3-44AA-973E-59ECFD1D12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028912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itle,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4316E4E-A648-43CC-986C-6EFF5FDB2E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884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4316E4E-A648-43CC-986C-6EFF5FDB2E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159292E-7912-42FC-86E6-F176F46B074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5472113" cy="892552"/>
          </a:xfrm>
          <a:prstGeom prst="rect">
            <a:avLst/>
          </a:prstGeom>
        </p:spPr>
        <p:txBody>
          <a:bodyPr lIns="0">
            <a:noAutofit/>
          </a:bodyPr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C7B6BE3-6821-4C87-80E0-3E9A1EE46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4444111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D25A962-D763-42D6-AED4-E8E7D05BC1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4677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D25A962-D763-42D6-AED4-E8E7D05BC1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B4381F-8F1F-41C9-B41A-78B236C98A9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6240463" y="1844674"/>
            <a:ext cx="5472112" cy="892552"/>
          </a:xfrm>
          <a:prstGeom prst="rect">
            <a:avLst/>
          </a:prstGeom>
        </p:spPr>
        <p:txBody>
          <a:bodyPr lIns="0">
            <a:noAutofit/>
          </a:bodyPr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79425" y="1844675"/>
            <a:ext cx="5472113" cy="892552"/>
          </a:xfrm>
          <a:prstGeom prst="rect">
            <a:avLst/>
          </a:prstGeom>
        </p:spPr>
        <p:txBody>
          <a:bodyPr lIns="0">
            <a:noAutofit/>
          </a:bodyPr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64989DD-68A0-42A0-808F-DF89DB2A00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134446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608990D-82E1-4E41-B171-7AF948E17D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8968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608990D-82E1-4E41-B171-7AF948E17D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C3540C-1C08-4BA2-B647-AF3E5424468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8184575" y="1844675"/>
            <a:ext cx="3528000" cy="4392613"/>
          </a:xfrm>
          <a:prstGeom prst="rect">
            <a:avLst/>
          </a:prstGeom>
        </p:spPr>
        <p:txBody>
          <a:bodyPr l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4332000" y="1844673"/>
            <a:ext cx="3528000" cy="4392613"/>
          </a:xfrm>
          <a:prstGeom prst="rect">
            <a:avLst/>
          </a:prstGeom>
        </p:spPr>
        <p:txBody>
          <a:bodyPr l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8E3794F8-471D-4987-945F-3C29BB03AB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79425" y="1844674"/>
            <a:ext cx="3528000" cy="4392613"/>
          </a:xfrm>
          <a:prstGeom prst="rect">
            <a:avLst/>
          </a:prstGeom>
        </p:spPr>
        <p:txBody>
          <a:bodyPr l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AE470C4-BC99-4366-A6EB-922B91C2E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86775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smalle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_SM">
            <a:extLst>
              <a:ext uri="{FF2B5EF4-FFF2-40B4-BE49-F238E27FC236}">
                <a16:creationId xmlns:a16="http://schemas.microsoft.com/office/drawing/2014/main" id="{3F4EF873-DC0F-4698-BEC2-502DB043AA5C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layout for presentations using short and crisp heading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84F54AF-EED6-486A-9ACA-42061F4AAE9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9425" y="1844675"/>
            <a:ext cx="8353426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0799952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42C8A1-3B66-4AF0-A374-8FBEE29DB2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0439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42C8A1-3B66-4AF0-A374-8FBEE29DB2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F324888-C26B-4D9D-8EA4-30D85CB145AF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240463" y="1844674"/>
            <a:ext cx="2592388" cy="4392614"/>
          </a:xfrm>
          <a:prstGeom prst="rect">
            <a:avLst/>
          </a:prstGeom>
        </p:spPr>
        <p:txBody>
          <a:bodyPr l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359149" y="1844674"/>
            <a:ext cx="2592389" cy="4392613"/>
          </a:xfrm>
          <a:prstGeom prst="rect">
            <a:avLst/>
          </a:prstGeom>
        </p:spPr>
        <p:txBody>
          <a:bodyPr l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4"/>
            <a:ext cx="2592388" cy="4392613"/>
          </a:xfrm>
          <a:prstGeom prst="rect">
            <a:avLst/>
          </a:prstGeom>
        </p:spPr>
        <p:txBody>
          <a:bodyPr l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9120188" y="1844674"/>
            <a:ext cx="2592387" cy="4392613"/>
          </a:xfrm>
          <a:prstGeom prst="rect">
            <a:avLst/>
          </a:prstGeom>
        </p:spPr>
        <p:txBody>
          <a:bodyPr l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7C1F51F-740C-4E2B-864E-954F8B3872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282382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8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EE6AA75-B795-481B-8198-755C335F24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6237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EE6AA75-B795-481B-8198-755C335F24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202898-C43D-4909-93F4-6D87AE05B21D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6" name="Content Placeholder 4"/>
          <p:cNvSpPr>
            <a:spLocks noGrp="1"/>
          </p:cNvSpPr>
          <p:nvPr>
            <p:ph sz="quarter" idx="4" hasCustomPrompt="1"/>
          </p:nvPr>
        </p:nvSpPr>
        <p:spPr>
          <a:xfrm>
            <a:off x="6240463" y="4150995"/>
            <a:ext cx="2592387" cy="2086292"/>
          </a:xfrm>
          <a:prstGeom prst="rect">
            <a:avLst/>
          </a:prstGeom>
        </p:spPr>
        <p:txBody>
          <a:bodyPr lIns="0" t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 sz="2000"/>
            </a:lvl4pPr>
            <a:lvl5pPr marL="1028700" indent="0">
              <a:buNone/>
              <a:defRPr sz="2000"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479424" y="4149724"/>
            <a:ext cx="2592389" cy="2087563"/>
          </a:xfrm>
          <a:prstGeom prst="rect">
            <a:avLst/>
          </a:prstGeom>
        </p:spPr>
        <p:txBody>
          <a:bodyPr lIns="0" t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0463" y="1844675"/>
            <a:ext cx="2592387" cy="2089150"/>
          </a:xfrm>
          <a:prstGeom prst="rect">
            <a:avLst/>
          </a:prstGeom>
        </p:spPr>
        <p:txBody>
          <a:bodyPr lIns="0" t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79424" y="1844675"/>
            <a:ext cx="2592389" cy="2089150"/>
          </a:xfrm>
          <a:prstGeom prst="rect">
            <a:avLst/>
          </a:prstGeom>
        </p:spPr>
        <p:txBody>
          <a:bodyPr lIns="0" t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359151" y="4149724"/>
            <a:ext cx="2592387" cy="2087563"/>
          </a:xfrm>
          <a:prstGeom prst="rect">
            <a:avLst/>
          </a:prstGeom>
        </p:spPr>
        <p:txBody>
          <a:bodyPr lIns="0" t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3359151" y="1844675"/>
            <a:ext cx="2592388" cy="2089150"/>
          </a:xfrm>
          <a:prstGeom prst="rect">
            <a:avLst/>
          </a:prstGeom>
        </p:spPr>
        <p:txBody>
          <a:bodyPr lIns="0" t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9120188" y="4149725"/>
            <a:ext cx="2592387" cy="2087562"/>
          </a:xfrm>
          <a:prstGeom prst="rect">
            <a:avLst/>
          </a:prstGeom>
        </p:spPr>
        <p:txBody>
          <a:bodyPr lIns="0" t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9120188" y="1844674"/>
            <a:ext cx="2592387" cy="2089151"/>
          </a:xfrm>
          <a:prstGeom prst="rect">
            <a:avLst/>
          </a:prstGeom>
        </p:spPr>
        <p:txBody>
          <a:bodyPr lIns="0" t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B9A935C2-BF59-4A9B-8AFC-553DEC3EE8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6759046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1 smalle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CFEFC-6AC8-4817-A0D3-6029D48BD29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8353426" cy="439261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6227119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D189A1-8D41-484C-A514-407C547DCE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9144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2" progId="TCLayout.ActiveDocument.1">
                  <p:embed/>
                </p:oleObj>
              </mc:Choice>
              <mc:Fallback>
                <p:oleObj name="think-cell Slide" r:id="rId3" imgW="411" imgH="41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D189A1-8D41-484C-A514-407C547DCE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6"/>
          </a:xfrm>
          <a:prstGeom prst="rect">
            <a:avLst/>
          </a:prstGeom>
        </p:spPr>
        <p:txBody>
          <a:bodyPr vert="horz"/>
          <a:lstStyle>
            <a:lvl1pPr>
              <a:lnSpc>
                <a:spcPct val="85000"/>
              </a:lnSpc>
              <a:defRPr sz="8000" b="0" kern="1400" spc="-16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/cover page,   Ericsson Hilda Light 80pt, max 3-lines</a:t>
            </a:r>
          </a:p>
        </p:txBody>
      </p:sp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lIns="7200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Description/subtitle/speaker…</a:t>
            </a:r>
            <a:br>
              <a:rPr lang="en-US"/>
            </a:br>
            <a:r>
              <a:rPr lang="en-US"/>
              <a:t>Ericsson Hilda Black 20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240463" y="6264000"/>
            <a:ext cx="1910479" cy="262800"/>
          </a:xfrm>
          <a:prstGeom prst="rect">
            <a:avLst/>
          </a:prstGeom>
        </p:spPr>
        <p:txBody>
          <a:bodyPr wrap="none" tIns="0" bIns="0" anchor="ctr" anchorCtr="0"/>
          <a:lstStyle>
            <a:lvl1pPr marL="0" indent="0" algn="r"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Speaker nam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8229600" y="6264000"/>
            <a:ext cx="2515041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bIns="0" anchor="ctr" anchorCtr="0"/>
          <a:lstStyle>
            <a:lvl1pPr marL="0" indent="0" algn="ctr"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Organization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10811951" y="6264000"/>
            <a:ext cx="897503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0" rIns="0" bIns="0" anchor="ctr" anchorCtr="0"/>
          <a:lstStyle>
            <a:lvl1pPr marL="0" indent="0" algn="ctr"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2233933758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ck 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5D9DB7BA-3A2F-46BA-A617-2A049434CD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3088" y="476251"/>
            <a:ext cx="256032" cy="256032"/>
          </a:xfrm>
          <a:prstGeom prst="rect">
            <a:avLst/>
          </a:prstGeom>
        </p:spPr>
      </p:pic>
      <p:sp>
        <p:nvSpPr>
          <p:cNvPr id="5" name="Title_SM">
            <a:extLst>
              <a:ext uri="{FF2B5EF4-FFF2-40B4-BE49-F238E27FC236}">
                <a16:creationId xmlns:a16="http://schemas.microsoft.com/office/drawing/2014/main" id="{C3312695-7D8B-4EA6-892D-6E2041C1BF81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105219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layout for document slides when you need space for a long heading and big content area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6ACC495-C9EE-4920-8BF2-506DED2F82FC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11233150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611671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9BCDBE0-A6F8-426D-956A-B2FC98CCE0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9676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2" progId="TCLayout.ActiveDocument.1">
                  <p:embed/>
                </p:oleObj>
              </mc:Choice>
              <mc:Fallback>
                <p:oleObj name="think-cell Slide" r:id="rId3" imgW="411" imgH="41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9BCDBE0-A6F8-426D-956A-B2FC98CCE0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105219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Use this layout for document slides when you need space for a long heading and big content are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CFEFC-6AC8-4817-A0D3-6029D48BD29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11233150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0252367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Pag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062079-82F1-4771-A224-AA6431CFCD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9455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062079-82F1-4771-A224-AA6431CFCD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8BC6BC5-C276-4EEB-85B0-0BE5F33FB6B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pic>
        <p:nvPicPr>
          <p:cNvPr id="9" name="Picture 11">
            <a:extLst>
              <a:ext uri="{FF2B5EF4-FFF2-40B4-BE49-F238E27FC236}">
                <a16:creationId xmlns:a16="http://schemas.microsoft.com/office/drawing/2014/main" id="{10DEA382-3777-4D1B-A88B-88F6F05CB21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22391" y="476250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_TM">
            <a:extLst>
              <a:ext uri="{FF2B5EF4-FFF2-40B4-BE49-F238E27FC236}">
                <a16:creationId xmlns:a16="http://schemas.microsoft.com/office/drawing/2014/main" id="{48FE7FF9-3930-4C4A-8BC6-EB9A286812D4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4" y="476250"/>
            <a:ext cx="8353425" cy="3457575"/>
          </a:xfrm>
          <a:noFill/>
          <a:ln w="9525">
            <a:noFill/>
            <a:miter lim="800000"/>
            <a:headEnd/>
            <a:tailEnd/>
          </a:ln>
        </p:spPr>
        <p:txBody>
          <a:bodyPr anchor="b"/>
          <a:lstStyle>
            <a:lvl1pPr>
              <a:defRPr lang="en-US" sz="6000" b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Ericsson Hilda Light" panose="00000400000000000000" pitchFamily="50" charset="0"/>
              </a:defRPr>
            </a:lvl1pPr>
          </a:lstStyle>
          <a:p>
            <a:pPr lvl="0"/>
            <a:r>
              <a:rPr lang="en-US"/>
              <a:t>Chapter/section divider or Statement/fact/quote, </a:t>
            </a:r>
            <a:br>
              <a:rPr lang="en-US"/>
            </a:br>
            <a:r>
              <a:rPr lang="en-US"/>
              <a:t>Ericsson Hilda Light 60pt, </a:t>
            </a:r>
            <a:br>
              <a:rPr lang="en-US"/>
            </a:br>
            <a:r>
              <a:rPr lang="en-US"/>
              <a:t>Ericsson White, </a:t>
            </a:r>
            <a:br>
              <a:rPr lang="en-US"/>
            </a:br>
            <a:r>
              <a:rPr lang="en-US"/>
              <a:t>max 5-lines</a:t>
            </a:r>
          </a:p>
        </p:txBody>
      </p:sp>
      <p:sp>
        <p:nvSpPr>
          <p:cNvPr id="12" name="SubTitle_TM">
            <a:extLst>
              <a:ext uri="{FF2B5EF4-FFF2-40B4-BE49-F238E27FC236}">
                <a16:creationId xmlns:a16="http://schemas.microsoft.com/office/drawing/2014/main" id="{A60848B0-180A-4C02-A8B3-E172AF538B6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3" cy="2087563"/>
          </a:xfrm>
          <a:prstGeom prst="rect">
            <a:avLst/>
          </a:prstGeom>
        </p:spPr>
        <p:txBody>
          <a:bodyPr r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1pPr>
          </a:lstStyle>
          <a:p>
            <a:r>
              <a:rPr lang="en-US"/>
              <a:t>Statement/quote source, </a:t>
            </a:r>
          </a:p>
          <a:p>
            <a:r>
              <a:rPr lang="en-US"/>
              <a:t>Ericsson White, Ericsson Hilda 20p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6183EB8-F873-46C9-942B-5D7CA9CDA4C2}"/>
              </a:ext>
            </a:extLst>
          </p:cNvPr>
          <p:cNvSpPr/>
          <p:nvPr userDrawn="1"/>
        </p:nvSpPr>
        <p:spPr bwMode="auto">
          <a:xfrm>
            <a:off x="0" y="-609600"/>
            <a:ext cx="12192000" cy="584200"/>
          </a:xfrm>
          <a:prstGeom prst="rect">
            <a:avLst/>
          </a:prstGeom>
          <a:noFill/>
          <a:ln>
            <a:noFill/>
          </a:ln>
        </p:spPr>
        <p:txBody>
          <a:bodyPr wrap="square" lIns="108000" tIns="36000" rIns="108000" bIns="36000" rtlCol="0" anchor="b"/>
          <a:lstStyle/>
          <a:p>
            <a:pPr algn="ctr">
              <a:spcBef>
                <a:spcPct val="50000"/>
              </a:spcBef>
            </a:pPr>
            <a:r>
              <a:rPr lang="en-US" sz="1400" b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Ericsson Hilda" panose="00000500000000000000" pitchFamily="50" charset="0"/>
              </a:rPr>
              <a:t>Use Design/Format background/Solid fill to change color</a:t>
            </a:r>
          </a:p>
        </p:txBody>
      </p:sp>
    </p:spTree>
    <p:extLst>
      <p:ext uri="{BB962C8B-B14F-4D97-AF65-F5344CB8AC3E}">
        <p14:creationId xmlns:p14="http://schemas.microsoft.com/office/powerpoint/2010/main" val="30989299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tatement Pag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062079-82F1-4771-A224-AA6431CFCD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9455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062079-82F1-4771-A224-AA6431CFCD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8BC6BC5-C276-4EEB-85B0-0BE5F33FB6B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pic>
        <p:nvPicPr>
          <p:cNvPr id="9" name="Picture 11">
            <a:extLst>
              <a:ext uri="{FF2B5EF4-FFF2-40B4-BE49-F238E27FC236}">
                <a16:creationId xmlns:a16="http://schemas.microsoft.com/office/drawing/2014/main" id="{10DEA382-3777-4D1B-A88B-88F6F05CB21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22391" y="476250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_TM">
            <a:extLst>
              <a:ext uri="{FF2B5EF4-FFF2-40B4-BE49-F238E27FC236}">
                <a16:creationId xmlns:a16="http://schemas.microsoft.com/office/drawing/2014/main" id="{48FE7FF9-3930-4C4A-8BC6-EB9A286812D4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4" y="476250"/>
            <a:ext cx="6128809" cy="3457575"/>
          </a:xfrm>
          <a:noFill/>
          <a:ln w="9525">
            <a:noFill/>
            <a:miter lim="800000"/>
            <a:headEnd/>
            <a:tailEnd/>
          </a:ln>
        </p:spPr>
        <p:txBody>
          <a:bodyPr anchor="b"/>
          <a:lstStyle>
            <a:lvl1pPr>
              <a:defRPr lang="en-US" sz="6000" b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Ericsson Hilda Light" panose="00000400000000000000" pitchFamily="50" charset="0"/>
              </a:defRPr>
            </a:lvl1pPr>
          </a:lstStyle>
          <a:p>
            <a:pPr lvl="0"/>
            <a:r>
              <a:rPr lang="en-US"/>
              <a:t>Chapter/section divider or Statement/fact/quote, </a:t>
            </a:r>
            <a:br>
              <a:rPr lang="en-US"/>
            </a:br>
            <a:r>
              <a:rPr lang="en-US"/>
              <a:t>Ericsson Hilda Light 60pt, </a:t>
            </a:r>
            <a:br>
              <a:rPr lang="en-US"/>
            </a:br>
            <a:r>
              <a:rPr lang="en-US"/>
              <a:t>Ericsson White, </a:t>
            </a:r>
            <a:br>
              <a:rPr lang="en-US"/>
            </a:br>
            <a:r>
              <a:rPr lang="en-US"/>
              <a:t>max 5-lines</a:t>
            </a:r>
          </a:p>
        </p:txBody>
      </p:sp>
      <p:sp>
        <p:nvSpPr>
          <p:cNvPr id="12" name="SubTitle_TM">
            <a:extLst>
              <a:ext uri="{FF2B5EF4-FFF2-40B4-BE49-F238E27FC236}">
                <a16:creationId xmlns:a16="http://schemas.microsoft.com/office/drawing/2014/main" id="{A60848B0-180A-4C02-A8B3-E172AF538B6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3" cy="2087563"/>
          </a:xfrm>
          <a:prstGeom prst="rect">
            <a:avLst/>
          </a:prstGeom>
        </p:spPr>
        <p:txBody>
          <a:bodyPr r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1pPr>
          </a:lstStyle>
          <a:p>
            <a:r>
              <a:rPr lang="en-US"/>
              <a:t>Statement/quote source, </a:t>
            </a:r>
          </a:p>
          <a:p>
            <a:r>
              <a:rPr lang="en-US"/>
              <a:t>Ericsson White, Ericsson Hilda 20p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6183EB8-F873-46C9-942B-5D7CA9CDA4C2}"/>
              </a:ext>
            </a:extLst>
          </p:cNvPr>
          <p:cNvSpPr/>
          <p:nvPr userDrawn="1"/>
        </p:nvSpPr>
        <p:spPr bwMode="auto">
          <a:xfrm>
            <a:off x="0" y="-609600"/>
            <a:ext cx="12192000" cy="584200"/>
          </a:xfrm>
          <a:prstGeom prst="rect">
            <a:avLst/>
          </a:prstGeom>
          <a:noFill/>
          <a:ln>
            <a:noFill/>
          </a:ln>
        </p:spPr>
        <p:txBody>
          <a:bodyPr wrap="square" lIns="108000" tIns="36000" rIns="108000" bIns="36000" rtlCol="0" anchor="b"/>
          <a:lstStyle/>
          <a:p>
            <a:pPr algn="ctr">
              <a:spcBef>
                <a:spcPct val="50000"/>
              </a:spcBef>
            </a:pPr>
            <a:r>
              <a:rPr lang="en-US" sz="1400" b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Ericsson Hilda" panose="00000500000000000000" pitchFamily="50" charset="0"/>
              </a:rPr>
              <a:t>Use Design/Format background/Solid fill to change color</a:t>
            </a:r>
          </a:p>
        </p:txBody>
      </p:sp>
    </p:spTree>
    <p:extLst>
      <p:ext uri="{BB962C8B-B14F-4D97-AF65-F5344CB8AC3E}">
        <p14:creationId xmlns:p14="http://schemas.microsoft.com/office/powerpoint/2010/main" val="35339020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1 colum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6A931-A898-408C-932E-47C14DDBC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9717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6A931-A898-408C-932E-47C14DDBC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A50B2D2-8108-4D8A-89D5-200DB3A66FF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pic>
        <p:nvPicPr>
          <p:cNvPr id="8" name="Picture 11">
            <a:extLst>
              <a:ext uri="{FF2B5EF4-FFF2-40B4-BE49-F238E27FC236}">
                <a16:creationId xmlns:a16="http://schemas.microsoft.com/office/drawing/2014/main" id="{ACEB1A9A-6E8B-4AEE-916B-1160C372BE5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19270" y="481203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389208A-5049-40AF-ACBF-F572A7A0E2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935663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9F042C-1AEA-4464-B3AC-068D614C43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6280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9F042C-1AEA-4464-B3AC-068D614C4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C99071CE-F2DE-431D-A304-302D376E094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3309" y="2866608"/>
            <a:ext cx="865383" cy="114556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076898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_SM">
            <a:extLst>
              <a:ext uri="{FF2B5EF4-FFF2-40B4-BE49-F238E27FC236}">
                <a16:creationId xmlns:a16="http://schemas.microsoft.com/office/drawing/2014/main" id="{891BF4C4-9DF9-4D9F-A738-37FBCD45AA68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79425" y="1844675"/>
            <a:ext cx="5472113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6240463" y="1844674"/>
            <a:ext cx="5472112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7588381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6A931-A898-408C-932E-47C14DDBC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8525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6A931-A898-408C-932E-47C14DDBC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A704E47-1A71-4997-B55B-E0E91DB0059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CFEFC-6AC8-4817-A0D3-6029D48BD29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11233150" cy="892552"/>
          </a:xfrm>
          <a:prstGeom prst="rect">
            <a:avLst/>
          </a:prstGeom>
        </p:spPr>
        <p:txBody>
          <a:bodyPr>
            <a:noAutofit/>
          </a:bodyPr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53C49B2-6D12-4F88-9218-C66DDED3D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649151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1 smalle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0ACA97-4ED5-4F20-9D65-2327DE6476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5611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0ACA97-4ED5-4F20-9D65-2327DE6476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0BB62F3-B838-4286-BD57-8E1E6683804A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CFEFC-6AC8-4817-A0D3-6029D48BD29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8353426" cy="892552"/>
          </a:xfrm>
          <a:prstGeom prst="rect">
            <a:avLst/>
          </a:prstGeom>
        </p:spPr>
        <p:txBody>
          <a:bodyPr>
            <a:noAutofit/>
          </a:bodyPr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6144E3-12A3-44AA-973E-59ECFD1D12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177306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title,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4316E4E-A648-43CC-986C-6EFF5FDB2E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7003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4316E4E-A648-43CC-986C-6EFF5FDB2E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159292E-7912-42FC-86E6-F176F46B074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5472113" cy="892552"/>
          </a:xfrm>
          <a:prstGeom prst="rect">
            <a:avLst/>
          </a:prstGeom>
        </p:spPr>
        <p:txBody>
          <a:bodyPr lIns="0">
            <a:noAutofit/>
          </a:bodyPr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C7B6BE3-6821-4C87-80E0-3E9A1EE46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366438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D25A962-D763-42D6-AED4-E8E7D05BC1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7950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D25A962-D763-42D6-AED4-E8E7D05BC1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B4381F-8F1F-41C9-B41A-78B236C98A9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6240463" y="1844674"/>
            <a:ext cx="5472112" cy="892552"/>
          </a:xfrm>
          <a:prstGeom prst="rect">
            <a:avLst/>
          </a:prstGeom>
        </p:spPr>
        <p:txBody>
          <a:bodyPr lIns="0">
            <a:noAutofit/>
          </a:bodyPr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79425" y="1844675"/>
            <a:ext cx="5472113" cy="892552"/>
          </a:xfrm>
          <a:prstGeom prst="rect">
            <a:avLst/>
          </a:prstGeom>
        </p:spPr>
        <p:txBody>
          <a:bodyPr lIns="0">
            <a:noAutofit/>
          </a:bodyPr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64989DD-68A0-42A0-808F-DF89DB2A00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7762552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608990D-82E1-4E41-B171-7AF948E17D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4636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608990D-82E1-4E41-B171-7AF948E17D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C3540C-1C08-4BA2-B647-AF3E5424468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8184575" y="1844675"/>
            <a:ext cx="3528000" cy="4392613"/>
          </a:xfrm>
          <a:prstGeom prst="rect">
            <a:avLst/>
          </a:prstGeom>
        </p:spPr>
        <p:txBody>
          <a:bodyPr l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4332000" y="1844673"/>
            <a:ext cx="3528000" cy="4392613"/>
          </a:xfrm>
          <a:prstGeom prst="rect">
            <a:avLst/>
          </a:prstGeom>
        </p:spPr>
        <p:txBody>
          <a:bodyPr l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8E3794F8-471D-4987-945F-3C29BB03AB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79425" y="1844674"/>
            <a:ext cx="3528000" cy="4392613"/>
          </a:xfrm>
          <a:prstGeom prst="rect">
            <a:avLst/>
          </a:prstGeom>
        </p:spPr>
        <p:txBody>
          <a:bodyPr l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AE470C4-BC99-4366-A6EB-922B91C2E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5800670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42C8A1-3B66-4AF0-A374-8FBEE29DB2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7697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42C8A1-3B66-4AF0-A374-8FBEE29DB2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F324888-C26B-4D9D-8EA4-30D85CB145AF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240463" y="1844674"/>
            <a:ext cx="2592388" cy="4392614"/>
          </a:xfrm>
          <a:prstGeom prst="rect">
            <a:avLst/>
          </a:prstGeom>
        </p:spPr>
        <p:txBody>
          <a:bodyPr l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359149" y="1844674"/>
            <a:ext cx="2592389" cy="4392613"/>
          </a:xfrm>
          <a:prstGeom prst="rect">
            <a:avLst/>
          </a:prstGeom>
        </p:spPr>
        <p:txBody>
          <a:bodyPr l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4"/>
            <a:ext cx="2592388" cy="4392613"/>
          </a:xfrm>
          <a:prstGeom prst="rect">
            <a:avLst/>
          </a:prstGeom>
        </p:spPr>
        <p:txBody>
          <a:bodyPr l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  <a:lvl5pPr>
              <a:defRPr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9120188" y="1844674"/>
            <a:ext cx="2592387" cy="4392613"/>
          </a:xfrm>
          <a:prstGeom prst="rect">
            <a:avLst/>
          </a:prstGeom>
        </p:spPr>
        <p:txBody>
          <a:bodyPr l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/>
            </a:lvl4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7C1F51F-740C-4E2B-864E-954F8B3872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139720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8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EE6AA75-B795-481B-8198-755C335F24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7346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EE6AA75-B795-481B-8198-755C335F24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202898-C43D-4909-93F4-6D87AE05B21D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6" name="Content Placeholder 4"/>
          <p:cNvSpPr>
            <a:spLocks noGrp="1"/>
          </p:cNvSpPr>
          <p:nvPr>
            <p:ph sz="quarter" idx="4" hasCustomPrompt="1"/>
          </p:nvPr>
        </p:nvSpPr>
        <p:spPr>
          <a:xfrm>
            <a:off x="6240463" y="4150995"/>
            <a:ext cx="2592387" cy="2086292"/>
          </a:xfrm>
          <a:prstGeom prst="rect">
            <a:avLst/>
          </a:prstGeom>
        </p:spPr>
        <p:txBody>
          <a:bodyPr lIns="0" t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 sz="2000"/>
            </a:lvl4pPr>
            <a:lvl5pPr marL="1028700" indent="0">
              <a:buNone/>
              <a:defRPr sz="2000"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479424" y="4149724"/>
            <a:ext cx="2592389" cy="2087563"/>
          </a:xfrm>
          <a:prstGeom prst="rect">
            <a:avLst/>
          </a:prstGeom>
        </p:spPr>
        <p:txBody>
          <a:bodyPr lIns="0" t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0463" y="1844675"/>
            <a:ext cx="2592387" cy="2089150"/>
          </a:xfrm>
          <a:prstGeom prst="rect">
            <a:avLst/>
          </a:prstGeom>
        </p:spPr>
        <p:txBody>
          <a:bodyPr lIns="0" t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79424" y="1844675"/>
            <a:ext cx="2592389" cy="2089150"/>
          </a:xfrm>
          <a:prstGeom prst="rect">
            <a:avLst/>
          </a:prstGeom>
        </p:spPr>
        <p:txBody>
          <a:bodyPr lIns="0" t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359151" y="4149724"/>
            <a:ext cx="2592387" cy="2087563"/>
          </a:xfrm>
          <a:prstGeom prst="rect">
            <a:avLst/>
          </a:prstGeom>
        </p:spPr>
        <p:txBody>
          <a:bodyPr lIns="0" t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3359151" y="1844675"/>
            <a:ext cx="2592388" cy="2089150"/>
          </a:xfrm>
          <a:prstGeom prst="rect">
            <a:avLst/>
          </a:prstGeom>
        </p:spPr>
        <p:txBody>
          <a:bodyPr lIns="0" t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9120188" y="4149725"/>
            <a:ext cx="2592387" cy="2087562"/>
          </a:xfrm>
          <a:prstGeom prst="rect">
            <a:avLst/>
          </a:prstGeom>
        </p:spPr>
        <p:txBody>
          <a:bodyPr lIns="0" t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9120188" y="1844674"/>
            <a:ext cx="2592387" cy="2089151"/>
          </a:xfrm>
          <a:prstGeom prst="rect">
            <a:avLst/>
          </a:prstGeom>
        </p:spPr>
        <p:txBody>
          <a:bodyPr lIns="0" tIns="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 sz="1800">
                <a:latin typeface="Ericsson Hilda" panose="00000500000000000000" pitchFamily="50" charset="0"/>
                <a:ea typeface="+mn-ea"/>
                <a:cs typeface="+mn-cs"/>
                <a:sym typeface="Ericsson Hilda" panose="00000500000000000000" pitchFamily="50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82F0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181818"/>
              </a:buClr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39CF2"/>
              </a:buClr>
              <a:buSzTx/>
              <a:buFont typeface="EucrosiaUPC" panose="02020603050405020304" pitchFamily="18" charset="-34"/>
              <a:buChar char="›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 Light" panose="00000400000000000000" pitchFamily="50" charset="0"/>
              </a:rPr>
              <a:t>Third level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B9A935C2-BF59-4A9B-8AFC-553DEC3EE8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562109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 Pag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062079-82F1-4771-A224-AA6431CFCD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4462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062079-82F1-4771-A224-AA6431CFCD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8BC6BC5-C276-4EEB-85B0-0BE5F33FB6B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pic>
        <p:nvPicPr>
          <p:cNvPr id="9" name="Picture 11">
            <a:extLst>
              <a:ext uri="{FF2B5EF4-FFF2-40B4-BE49-F238E27FC236}">
                <a16:creationId xmlns:a16="http://schemas.microsoft.com/office/drawing/2014/main" id="{10DEA382-3777-4D1B-A88B-88F6F05CB21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22391" y="476250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_TM">
            <a:extLst>
              <a:ext uri="{FF2B5EF4-FFF2-40B4-BE49-F238E27FC236}">
                <a16:creationId xmlns:a16="http://schemas.microsoft.com/office/drawing/2014/main" id="{48FE7FF9-3930-4C4A-8BC6-EB9A286812D4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4" y="476250"/>
            <a:ext cx="8353425" cy="3457575"/>
          </a:xfrm>
          <a:noFill/>
          <a:ln w="9525">
            <a:noFill/>
            <a:miter lim="800000"/>
            <a:headEnd/>
            <a:tailEnd/>
          </a:ln>
        </p:spPr>
        <p:txBody>
          <a:bodyPr anchor="b"/>
          <a:lstStyle>
            <a:lvl1pPr>
              <a:defRPr lang="en-US" sz="6000" b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Ericsson Hilda Light" panose="00000400000000000000" pitchFamily="50" charset="0"/>
              </a:defRPr>
            </a:lvl1pPr>
          </a:lstStyle>
          <a:p>
            <a:pPr lvl="0"/>
            <a:r>
              <a:rPr lang="en-US"/>
              <a:t>Chapter/section divider or Statement/fact/quote, </a:t>
            </a:r>
            <a:br>
              <a:rPr lang="en-US"/>
            </a:br>
            <a:r>
              <a:rPr lang="en-US"/>
              <a:t>Ericsson Hilda Light 60pt, </a:t>
            </a:r>
            <a:br>
              <a:rPr lang="en-US"/>
            </a:br>
            <a:r>
              <a:rPr lang="en-US"/>
              <a:t>Ericsson White, </a:t>
            </a:r>
            <a:br>
              <a:rPr lang="en-US"/>
            </a:br>
            <a:r>
              <a:rPr lang="en-US"/>
              <a:t>max 5-lines</a:t>
            </a:r>
          </a:p>
        </p:txBody>
      </p:sp>
      <p:sp>
        <p:nvSpPr>
          <p:cNvPr id="12" name="SubTitle_TM">
            <a:extLst>
              <a:ext uri="{FF2B5EF4-FFF2-40B4-BE49-F238E27FC236}">
                <a16:creationId xmlns:a16="http://schemas.microsoft.com/office/drawing/2014/main" id="{A60848B0-180A-4C02-A8B3-E172AF538B6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3" cy="2087563"/>
          </a:xfrm>
          <a:prstGeom prst="rect">
            <a:avLst/>
          </a:prstGeom>
        </p:spPr>
        <p:txBody>
          <a:bodyPr r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1pPr>
          </a:lstStyle>
          <a:p>
            <a:r>
              <a:rPr lang="en-US"/>
              <a:t>Statement/quote source, </a:t>
            </a:r>
          </a:p>
          <a:p>
            <a:r>
              <a:rPr lang="en-US"/>
              <a:t>Ericsson White, Ericsson Hilda 20p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6183EB8-F873-46C9-942B-5D7CA9CDA4C2}"/>
              </a:ext>
            </a:extLst>
          </p:cNvPr>
          <p:cNvSpPr/>
          <p:nvPr userDrawn="1"/>
        </p:nvSpPr>
        <p:spPr bwMode="auto">
          <a:xfrm>
            <a:off x="0" y="-609600"/>
            <a:ext cx="12192000" cy="584200"/>
          </a:xfrm>
          <a:prstGeom prst="rect">
            <a:avLst/>
          </a:prstGeom>
          <a:noFill/>
          <a:ln>
            <a:noFill/>
          </a:ln>
        </p:spPr>
        <p:txBody>
          <a:bodyPr wrap="square" lIns="108000" tIns="36000" rIns="108000" bIns="36000" rtlCol="0" anchor="b"/>
          <a:lstStyle/>
          <a:p>
            <a:pPr algn="ctr">
              <a:spcBef>
                <a:spcPct val="50000"/>
              </a:spcBef>
            </a:pPr>
            <a:r>
              <a:rPr lang="en-US" sz="1400" b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Ericsson Hilda" panose="00000500000000000000" pitchFamily="50" charset="0"/>
              </a:rPr>
              <a:t>Use Design/Format background/Solid fill to change color</a:t>
            </a:r>
          </a:p>
        </p:txBody>
      </p:sp>
    </p:spTree>
    <p:extLst>
      <p:ext uri="{BB962C8B-B14F-4D97-AF65-F5344CB8AC3E}">
        <p14:creationId xmlns:p14="http://schemas.microsoft.com/office/powerpoint/2010/main" val="21907766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1 colum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6A931-A898-408C-932E-47C14DDBC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3712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6A931-A898-408C-932E-47C14DDBC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A50B2D2-8108-4D8A-89D5-200DB3A66FF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pic>
        <p:nvPicPr>
          <p:cNvPr id="8" name="Picture 11">
            <a:extLst>
              <a:ext uri="{FF2B5EF4-FFF2-40B4-BE49-F238E27FC236}">
                <a16:creationId xmlns:a16="http://schemas.microsoft.com/office/drawing/2014/main" id="{ACEB1A9A-6E8B-4AEE-916B-1160C372BE5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19270" y="481203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389208A-5049-40AF-ACBF-F572A7A0E2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8211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_SM">
            <a:extLst>
              <a:ext uri="{FF2B5EF4-FFF2-40B4-BE49-F238E27FC236}">
                <a16:creationId xmlns:a16="http://schemas.microsoft.com/office/drawing/2014/main" id="{6B686A21-AA96-4B0A-B7CE-F4C6D5D31B32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481052" y="1846580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4332814" y="1844674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8E3794F8-471D-4987-945F-3C29BB03AB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84575" y="1846580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457253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_SM">
            <a:extLst>
              <a:ext uri="{FF2B5EF4-FFF2-40B4-BE49-F238E27FC236}">
                <a16:creationId xmlns:a16="http://schemas.microsoft.com/office/drawing/2014/main" id="{F4D71A67-F349-4E68-B7B8-D53CE323A764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4"/>
            <a:ext cx="2592388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359149" y="1844674"/>
            <a:ext cx="2592389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240463" y="1844674"/>
            <a:ext cx="2592388" cy="439261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9120188" y="1844674"/>
            <a:ext cx="2592387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A55C34B4-681E-4FDA-A9BB-6BC31D94C8D6}"/>
              </a:ext>
            </a:extLst>
          </p:cNvPr>
          <p:cNvSpPr txBox="1"/>
          <p:nvPr userDrawn="1"/>
        </p:nvSpPr>
        <p:spPr>
          <a:xfrm>
            <a:off x="421638" y="6524625"/>
            <a:ext cx="486190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r>
              <a:rPr lang="en-US" sz="800" b="0" i="0" u="none">
                <a:solidFill>
                  <a:schemeClr val="tx1"/>
                </a:solidFill>
                <a:latin typeface="+mn-lt"/>
              </a:rPr>
              <a:t>  |  EPHILFR Philipp Frank  |  A  |  2023-09-08  |  CNS AI Differentiators  |  Ericsson Confidential  |  Page </a:t>
            </a:r>
            <a:fld id="{96940A05-7F5D-4B0E-A029-4446718DF76E}" type="slidenum">
              <a:rPr lang="en-US" sz="800" b="0" i="0" u="none" smtClean="0">
                <a:solidFill>
                  <a:schemeClr val="tx1"/>
                </a:solidFill>
                <a:latin typeface="+mn-lt"/>
              </a:rPr>
              <a:t>‹#›</a:t>
            </a:fld>
            <a:r>
              <a:rPr lang="en-US" sz="800" b="0" i="0" u="none">
                <a:solidFill>
                  <a:schemeClr val="tx1"/>
                </a:solidFill>
                <a:latin typeface="+mn-lt"/>
              </a:rPr>
              <a:t> of 7</a:t>
            </a:r>
          </a:p>
        </p:txBody>
      </p:sp>
    </p:spTree>
    <p:extLst>
      <p:ext uri="{BB962C8B-B14F-4D97-AF65-F5344CB8AC3E}">
        <p14:creationId xmlns:p14="http://schemas.microsoft.com/office/powerpoint/2010/main" val="22758992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35.xml"/><Relationship Id="rId42" Type="http://schemas.openxmlformats.org/officeDocument/2006/relationships/slideLayout" Target="../slideLayouts/slideLayout56.xml"/><Relationship Id="rId47" Type="http://schemas.openxmlformats.org/officeDocument/2006/relationships/slideLayout" Target="../slideLayouts/slideLayout61.xml"/><Relationship Id="rId63" Type="http://schemas.openxmlformats.org/officeDocument/2006/relationships/slideLayout" Target="../slideLayouts/slideLayout77.xml"/><Relationship Id="rId68" Type="http://schemas.openxmlformats.org/officeDocument/2006/relationships/image" Target="../media/image6.emf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9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38.xml"/><Relationship Id="rId32" Type="http://schemas.openxmlformats.org/officeDocument/2006/relationships/slideLayout" Target="../slideLayouts/slideLayout46.xml"/><Relationship Id="rId37" Type="http://schemas.openxmlformats.org/officeDocument/2006/relationships/slideLayout" Target="../slideLayouts/slideLayout51.xml"/><Relationship Id="rId40" Type="http://schemas.openxmlformats.org/officeDocument/2006/relationships/slideLayout" Target="../slideLayouts/slideLayout54.xml"/><Relationship Id="rId45" Type="http://schemas.openxmlformats.org/officeDocument/2006/relationships/slideLayout" Target="../slideLayouts/slideLayout59.xml"/><Relationship Id="rId53" Type="http://schemas.openxmlformats.org/officeDocument/2006/relationships/slideLayout" Target="../slideLayouts/slideLayout67.xml"/><Relationship Id="rId58" Type="http://schemas.openxmlformats.org/officeDocument/2006/relationships/slideLayout" Target="../slideLayouts/slideLayout72.xml"/><Relationship Id="rId66" Type="http://schemas.openxmlformats.org/officeDocument/2006/relationships/tags" Target="../tags/tag1.xml"/><Relationship Id="rId5" Type="http://schemas.openxmlformats.org/officeDocument/2006/relationships/slideLayout" Target="../slideLayouts/slideLayout19.xml"/><Relationship Id="rId61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slideLayout" Target="../slideLayouts/slideLayout41.xml"/><Relationship Id="rId30" Type="http://schemas.openxmlformats.org/officeDocument/2006/relationships/slideLayout" Target="../slideLayouts/slideLayout44.xml"/><Relationship Id="rId35" Type="http://schemas.openxmlformats.org/officeDocument/2006/relationships/slideLayout" Target="../slideLayouts/slideLayout49.xml"/><Relationship Id="rId43" Type="http://schemas.openxmlformats.org/officeDocument/2006/relationships/slideLayout" Target="../slideLayouts/slideLayout57.xml"/><Relationship Id="rId48" Type="http://schemas.openxmlformats.org/officeDocument/2006/relationships/slideLayout" Target="../slideLayouts/slideLayout62.xml"/><Relationship Id="rId56" Type="http://schemas.openxmlformats.org/officeDocument/2006/relationships/slideLayout" Target="../slideLayouts/slideLayout70.xml"/><Relationship Id="rId64" Type="http://schemas.openxmlformats.org/officeDocument/2006/relationships/slideLayout" Target="../slideLayouts/slideLayout78.xml"/><Relationship Id="rId69" Type="http://schemas.openxmlformats.org/officeDocument/2006/relationships/image" Target="../media/image4.png"/><Relationship Id="rId8" Type="http://schemas.openxmlformats.org/officeDocument/2006/relationships/slideLayout" Target="../slideLayouts/slideLayout22.xml"/><Relationship Id="rId51" Type="http://schemas.openxmlformats.org/officeDocument/2006/relationships/slideLayout" Target="../slideLayouts/slideLayout65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slideLayout" Target="../slideLayouts/slideLayout39.xml"/><Relationship Id="rId33" Type="http://schemas.openxmlformats.org/officeDocument/2006/relationships/slideLayout" Target="../slideLayouts/slideLayout47.xml"/><Relationship Id="rId38" Type="http://schemas.openxmlformats.org/officeDocument/2006/relationships/slideLayout" Target="../slideLayouts/slideLayout52.xml"/><Relationship Id="rId46" Type="http://schemas.openxmlformats.org/officeDocument/2006/relationships/slideLayout" Target="../slideLayouts/slideLayout60.xml"/><Relationship Id="rId59" Type="http://schemas.openxmlformats.org/officeDocument/2006/relationships/slideLayout" Target="../slideLayouts/slideLayout73.xml"/><Relationship Id="rId67" Type="http://schemas.openxmlformats.org/officeDocument/2006/relationships/oleObject" Target="../embeddings/oleObject1.bin"/><Relationship Id="rId20" Type="http://schemas.openxmlformats.org/officeDocument/2006/relationships/slideLayout" Target="../slideLayouts/slideLayout34.xml"/><Relationship Id="rId41" Type="http://schemas.openxmlformats.org/officeDocument/2006/relationships/slideLayout" Target="../slideLayouts/slideLayout55.xml"/><Relationship Id="rId54" Type="http://schemas.openxmlformats.org/officeDocument/2006/relationships/slideLayout" Target="../slideLayouts/slideLayout68.xml"/><Relationship Id="rId62" Type="http://schemas.openxmlformats.org/officeDocument/2006/relationships/slideLayout" Target="../slideLayouts/slideLayout76.xml"/><Relationship Id="rId70" Type="http://schemas.openxmlformats.org/officeDocument/2006/relationships/image" Target="../media/image5.svg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28" Type="http://schemas.openxmlformats.org/officeDocument/2006/relationships/slideLayout" Target="../slideLayouts/slideLayout42.xml"/><Relationship Id="rId36" Type="http://schemas.openxmlformats.org/officeDocument/2006/relationships/slideLayout" Target="../slideLayouts/slideLayout50.xml"/><Relationship Id="rId49" Type="http://schemas.openxmlformats.org/officeDocument/2006/relationships/slideLayout" Target="../slideLayouts/slideLayout63.xml"/><Relationship Id="rId57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24.xml"/><Relationship Id="rId31" Type="http://schemas.openxmlformats.org/officeDocument/2006/relationships/slideLayout" Target="../slideLayouts/slideLayout45.xml"/><Relationship Id="rId44" Type="http://schemas.openxmlformats.org/officeDocument/2006/relationships/slideLayout" Target="../slideLayouts/slideLayout58.xml"/><Relationship Id="rId52" Type="http://schemas.openxmlformats.org/officeDocument/2006/relationships/slideLayout" Target="../slideLayouts/slideLayout66.xml"/><Relationship Id="rId60" Type="http://schemas.openxmlformats.org/officeDocument/2006/relationships/slideLayout" Target="../slideLayouts/slideLayout74.xml"/><Relationship Id="rId65" Type="http://schemas.openxmlformats.org/officeDocument/2006/relationships/theme" Target="../theme/theme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39" Type="http://schemas.openxmlformats.org/officeDocument/2006/relationships/slideLayout" Target="../slideLayouts/slideLayout53.xml"/><Relationship Id="rId34" Type="http://schemas.openxmlformats.org/officeDocument/2006/relationships/slideLayout" Target="../slideLayouts/slideLayout48.xml"/><Relationship Id="rId50" Type="http://schemas.openxmlformats.org/officeDocument/2006/relationships/slideLayout" Target="../slideLayouts/slideLayout64.xml"/><Relationship Id="rId55" Type="http://schemas.openxmlformats.org/officeDocument/2006/relationships/slideLayout" Target="../slideLayouts/slideLayout6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_SM"/>
          <p:cNvSpPr>
            <a:spLocks noGrp="1" noChangeArrowheads="1"/>
          </p:cNvSpPr>
          <p:nvPr>
            <p:ph type="title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83145CE-A2DE-4236-A4F9-8AE088671C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844674"/>
            <a:ext cx="11233150" cy="4392613"/>
          </a:xfrm>
          <a:prstGeom prst="rect">
            <a:avLst/>
          </a:prstGeom>
        </p:spPr>
        <p:txBody>
          <a:bodyPr vert="horz" lIns="72000" tIns="36000" rIns="72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pic>
        <p:nvPicPr>
          <p:cNvPr id="2" name="Picture 3">
            <a:extLst>
              <a:ext uri="{FF2B5EF4-FFF2-40B4-BE49-F238E27FC236}">
                <a16:creationId xmlns:a16="http://schemas.microsoft.com/office/drawing/2014/main" id="{05336C95-19F3-AC92-CBFD-52ED526CF0A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9736" y="211659"/>
            <a:ext cx="818108" cy="818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665815C-E6AB-667E-FD0B-272049406215}"/>
              </a:ext>
            </a:extLst>
          </p:cNvPr>
          <p:cNvSpPr txBox="1"/>
          <p:nvPr userDrawn="1"/>
        </p:nvSpPr>
        <p:spPr>
          <a:xfrm>
            <a:off x="9340769" y="6488080"/>
            <a:ext cx="2742373" cy="158261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None/>
              <a:tabLst/>
            </a:pPr>
            <a:r>
              <a:rPr kumimoji="0" lang="en-US" sz="800" b="0" i="0" u="none" strike="noStrike" kern="1000" cap="none" spc="-3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Oscar Llorente Gonzalez  |  09-2025  |  Ericsson CNS – GAI Lab</a:t>
            </a:r>
          </a:p>
        </p:txBody>
      </p:sp>
    </p:spTree>
    <p:extLst>
      <p:ext uri="{BB962C8B-B14F-4D97-AF65-F5344CB8AC3E}">
        <p14:creationId xmlns:p14="http://schemas.microsoft.com/office/powerpoint/2010/main" val="2523064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07" r:id="rId2"/>
    <p:sldLayoutId id="2147483709" r:id="rId3"/>
    <p:sldLayoutId id="2147483673" r:id="rId4"/>
    <p:sldLayoutId id="2147483706" r:id="rId5"/>
    <p:sldLayoutId id="2147483694" r:id="rId6"/>
    <p:sldLayoutId id="2147483675" r:id="rId7"/>
    <p:sldLayoutId id="2147483696" r:id="rId8"/>
    <p:sldLayoutId id="2147483678" r:id="rId9"/>
    <p:sldLayoutId id="2147483690" r:id="rId10"/>
    <p:sldLayoutId id="2147483681" r:id="rId11"/>
    <p:sldLayoutId id="2147483692" r:id="rId12"/>
    <p:sldLayoutId id="2147483705" r:id="rId13"/>
    <p:sldLayoutId id="2147483844" r:id="rId14"/>
  </p:sldLayoutIdLst>
  <p:hf sldNum="0" hdr="0" ftr="0" dt="0"/>
  <p:txStyles>
    <p:titleStyle>
      <a:lvl1pPr algn="l" rtl="0" eaLnBrk="1" fontAlgn="base" hangingPunct="1">
        <a:lnSpc>
          <a:spcPct val="85000"/>
        </a:lnSpc>
        <a:spcBef>
          <a:spcPts val="300"/>
        </a:spcBef>
        <a:spcAft>
          <a:spcPct val="0"/>
        </a:spcAft>
        <a:defRPr sz="4000" kern="1400" spc="-16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9pPr>
    </p:titleStyle>
    <p:bodyStyle>
      <a:lvl1pPr marL="265113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kern="1000" spc="-3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3050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–"/>
        <a:defRPr sz="2000" kern="1000" spc="-30">
          <a:solidFill>
            <a:schemeClr val="tx1"/>
          </a:solidFill>
          <a:latin typeface="+mn-lt"/>
        </a:defRPr>
      </a:lvl2pPr>
      <a:lvl3pPr marL="803275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kern="1000" spc="-30">
          <a:solidFill>
            <a:schemeClr val="tx1"/>
          </a:solidFill>
          <a:latin typeface="+mn-lt"/>
        </a:defRPr>
      </a:lvl3pPr>
      <a:lvl4pPr marL="1076325" indent="-273050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–"/>
        <a:defRPr sz="2000" kern="1000" spc="-30">
          <a:solidFill>
            <a:schemeClr val="tx1"/>
          </a:solidFill>
          <a:latin typeface="+mn-lt"/>
        </a:defRPr>
      </a:lvl4pPr>
      <a:lvl5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kern="1000" spc="-30">
          <a:solidFill>
            <a:schemeClr val="tx1"/>
          </a:solidFill>
          <a:latin typeface="+mn-lt"/>
        </a:defRPr>
      </a:lvl5pPr>
      <a:lvl6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6pPr>
      <a:lvl7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7pPr>
      <a:lvl8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8pPr>
      <a:lvl9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A4A3A4"/>
          </p15:clr>
        </p15:guide>
        <p15:guide id="2" pos="302">
          <p15:clr>
            <a:srgbClr val="A4A3A4"/>
          </p15:clr>
        </p15:guide>
        <p15:guide id="3" pos="1935">
          <p15:clr>
            <a:srgbClr val="A4A3A4"/>
          </p15:clr>
        </p15:guide>
        <p15:guide id="4" orient="horz" pos="981">
          <p15:clr>
            <a:srgbClr val="A4A3A4"/>
          </p15:clr>
        </p15:guide>
        <p15:guide id="6" pos="2116">
          <p15:clr>
            <a:srgbClr val="A4A3A4"/>
          </p15:clr>
        </p15:guide>
        <p15:guide id="7" pos="3931">
          <p15:clr>
            <a:srgbClr val="A4A3A4"/>
          </p15:clr>
        </p15:guide>
        <p15:guide id="9" pos="3749">
          <p15:clr>
            <a:srgbClr val="A4A3A4"/>
          </p15:clr>
        </p15:guide>
        <p15:guide id="10" pos="5564">
          <p15:clr>
            <a:srgbClr val="A4A3A4"/>
          </p15:clr>
        </p15:guide>
        <p15:guide id="12" pos="5745">
          <p15:clr>
            <a:srgbClr val="A4A3A4"/>
          </p15:clr>
        </p15:guide>
        <p15:guide id="13" pos="7378">
          <p15:clr>
            <a:srgbClr val="A4A3A4"/>
          </p15:clr>
        </p15:guide>
        <p15:guide id="16" orient="horz" pos="2478">
          <p15:clr>
            <a:srgbClr val="A4A3A4"/>
          </p15:clr>
        </p15:guide>
        <p15:guide id="17" orient="horz" pos="2614">
          <p15:clr>
            <a:srgbClr val="A4A3A4"/>
          </p15:clr>
        </p15:guide>
        <p15:guide id="18" orient="horz" pos="3929">
          <p15:clr>
            <a:srgbClr val="A4A3A4"/>
          </p15:clr>
        </p15:guide>
        <p15:guide id="19" orient="horz" pos="4110">
          <p15:clr>
            <a:srgbClr val="A4A3A4"/>
          </p15:clr>
        </p15:guide>
        <p15:guide id="20" orient="horz" pos="1162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C7E7041-BA2E-EDFC-61FE-16A696CB4B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6"/>
            </p:custDataLst>
            <p:extLst>
              <p:ext uri="{D42A27DB-BD31-4B8C-83A1-F6EECF244321}">
                <p14:modId xmlns:p14="http://schemas.microsoft.com/office/powerpoint/2010/main" val="1356694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7" imgW="306" imgH="306" progId="TCLayout.ActiveDocument.1">
                  <p:embed/>
                </p:oleObj>
              </mc:Choice>
              <mc:Fallback>
                <p:oleObj name="think-cell Slide" r:id="rId67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7E7041-BA2E-EDFC-61FE-16A696CB4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06" name="Title_SM"/>
          <p:cNvSpPr>
            <a:spLocks noGrp="1" noChangeArrowheads="1"/>
          </p:cNvSpPr>
          <p:nvPr>
            <p:ph type="title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83145CE-A2DE-4236-A4F9-8AE088671C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844674"/>
            <a:ext cx="11233150" cy="4392613"/>
          </a:xfrm>
          <a:prstGeom prst="rect">
            <a:avLst/>
          </a:prstGeom>
        </p:spPr>
        <p:txBody>
          <a:bodyPr vert="horz" lIns="72000" tIns="36000" rIns="72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CFCA6C0-C300-46F3-8D05-D936BF801E76}"/>
              </a:ext>
            </a:extLst>
          </p:cNvPr>
          <p:cNvPicPr>
            <a:picLocks noChangeAspect="1"/>
          </p:cNvPicPr>
          <p:nvPr userDrawn="1"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0"/>
              </a:ext>
            </a:extLst>
          </a:blip>
          <a:stretch>
            <a:fillRect/>
          </a:stretch>
        </p:blipFill>
        <p:spPr>
          <a:xfrm>
            <a:off x="11493088" y="476251"/>
            <a:ext cx="256032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182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  <p:sldLayoutId id="2147483774" r:id="rId9"/>
    <p:sldLayoutId id="2147483775" r:id="rId10"/>
    <p:sldLayoutId id="2147483776" r:id="rId11"/>
    <p:sldLayoutId id="2147483777" r:id="rId12"/>
    <p:sldLayoutId id="2147483778" r:id="rId13"/>
    <p:sldLayoutId id="2147483779" r:id="rId14"/>
    <p:sldLayoutId id="2147483780" r:id="rId15"/>
    <p:sldLayoutId id="2147483781" r:id="rId16"/>
    <p:sldLayoutId id="2147483782" r:id="rId17"/>
    <p:sldLayoutId id="2147483783" r:id="rId18"/>
    <p:sldLayoutId id="2147483784" r:id="rId19"/>
    <p:sldLayoutId id="2147483785" r:id="rId20"/>
    <p:sldLayoutId id="2147483786" r:id="rId21"/>
    <p:sldLayoutId id="2147483787" r:id="rId22"/>
    <p:sldLayoutId id="2147483788" r:id="rId23"/>
    <p:sldLayoutId id="2147483789" r:id="rId24"/>
    <p:sldLayoutId id="2147483790" r:id="rId25"/>
    <p:sldLayoutId id="2147483791" r:id="rId26"/>
    <p:sldLayoutId id="2147483792" r:id="rId27"/>
    <p:sldLayoutId id="2147483793" r:id="rId28"/>
    <p:sldLayoutId id="2147483794" r:id="rId29"/>
    <p:sldLayoutId id="2147483795" r:id="rId30"/>
    <p:sldLayoutId id="2147483796" r:id="rId31"/>
    <p:sldLayoutId id="2147483797" r:id="rId32"/>
    <p:sldLayoutId id="2147483798" r:id="rId33"/>
    <p:sldLayoutId id="2147483799" r:id="rId34"/>
    <p:sldLayoutId id="2147483800" r:id="rId35"/>
    <p:sldLayoutId id="2147483801" r:id="rId36"/>
    <p:sldLayoutId id="2147483802" r:id="rId37"/>
    <p:sldLayoutId id="2147483803" r:id="rId38"/>
    <p:sldLayoutId id="2147483804" r:id="rId39"/>
    <p:sldLayoutId id="2147483805" r:id="rId40"/>
    <p:sldLayoutId id="2147483806" r:id="rId41"/>
    <p:sldLayoutId id="2147483807" r:id="rId42"/>
    <p:sldLayoutId id="2147483808" r:id="rId43"/>
    <p:sldLayoutId id="2147483809" r:id="rId44"/>
    <p:sldLayoutId id="2147483810" r:id="rId45"/>
    <p:sldLayoutId id="2147483811" r:id="rId46"/>
    <p:sldLayoutId id="2147483812" r:id="rId47"/>
    <p:sldLayoutId id="2147483813" r:id="rId48"/>
    <p:sldLayoutId id="2147483814" r:id="rId49"/>
    <p:sldLayoutId id="2147483815" r:id="rId50"/>
    <p:sldLayoutId id="2147483816" r:id="rId51"/>
    <p:sldLayoutId id="2147483817" r:id="rId52"/>
    <p:sldLayoutId id="2147483818" r:id="rId53"/>
    <p:sldLayoutId id="2147483819" r:id="rId54"/>
    <p:sldLayoutId id="2147483820" r:id="rId55"/>
    <p:sldLayoutId id="2147483835" r:id="rId56"/>
    <p:sldLayoutId id="2147483836" r:id="rId57"/>
    <p:sldLayoutId id="2147483837" r:id="rId58"/>
    <p:sldLayoutId id="2147483838" r:id="rId59"/>
    <p:sldLayoutId id="2147483839" r:id="rId60"/>
    <p:sldLayoutId id="2147483840" r:id="rId61"/>
    <p:sldLayoutId id="2147483841" r:id="rId62"/>
    <p:sldLayoutId id="2147483842" r:id="rId63"/>
    <p:sldLayoutId id="2147483843" r:id="rId64"/>
  </p:sldLayoutIdLst>
  <p:hf sldNum="0" hdr="0" ftr="0" dt="0"/>
  <p:txStyles>
    <p:titleStyle>
      <a:lvl1pPr algn="l" rtl="0" eaLnBrk="1" fontAlgn="base" hangingPunct="1">
        <a:lnSpc>
          <a:spcPct val="85000"/>
        </a:lnSpc>
        <a:spcBef>
          <a:spcPts val="300"/>
        </a:spcBef>
        <a:spcAft>
          <a:spcPct val="0"/>
        </a:spcAft>
        <a:defRPr sz="4000" kern="1400" spc="-16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9pPr>
    </p:titleStyle>
    <p:bodyStyle>
      <a:lvl1pPr marL="265113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kern="1000" spc="-3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3050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–"/>
        <a:defRPr sz="2000" kern="1000" spc="-30">
          <a:solidFill>
            <a:schemeClr val="tx1"/>
          </a:solidFill>
          <a:latin typeface="+mn-lt"/>
        </a:defRPr>
      </a:lvl2pPr>
      <a:lvl3pPr marL="803275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kern="1000" spc="-30">
          <a:solidFill>
            <a:schemeClr val="tx1"/>
          </a:solidFill>
          <a:latin typeface="+mn-lt"/>
        </a:defRPr>
      </a:lvl3pPr>
      <a:lvl4pPr marL="1076325" indent="-273050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–"/>
        <a:defRPr sz="2000" kern="1000" spc="-30">
          <a:solidFill>
            <a:schemeClr val="tx1"/>
          </a:solidFill>
          <a:latin typeface="+mn-lt"/>
        </a:defRPr>
      </a:lvl4pPr>
      <a:lvl5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kern="1000" spc="-30">
          <a:solidFill>
            <a:schemeClr val="tx1"/>
          </a:solidFill>
          <a:latin typeface="+mn-lt"/>
        </a:defRPr>
      </a:lvl5pPr>
      <a:lvl6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6pPr>
      <a:lvl7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7pPr>
      <a:lvl8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8pPr>
      <a:lvl9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A4A3A4"/>
          </p15:clr>
        </p15:guide>
        <p15:guide id="2" pos="302">
          <p15:clr>
            <a:srgbClr val="A4A3A4"/>
          </p15:clr>
        </p15:guide>
        <p15:guide id="3" pos="1935">
          <p15:clr>
            <a:srgbClr val="A4A3A4"/>
          </p15:clr>
        </p15:guide>
        <p15:guide id="4" orient="horz" pos="981">
          <p15:clr>
            <a:srgbClr val="A4A3A4"/>
          </p15:clr>
        </p15:guide>
        <p15:guide id="6" pos="2116">
          <p15:clr>
            <a:srgbClr val="A4A3A4"/>
          </p15:clr>
        </p15:guide>
        <p15:guide id="7" pos="3931">
          <p15:clr>
            <a:srgbClr val="A4A3A4"/>
          </p15:clr>
        </p15:guide>
        <p15:guide id="9" pos="3749">
          <p15:clr>
            <a:srgbClr val="A4A3A4"/>
          </p15:clr>
        </p15:guide>
        <p15:guide id="10" pos="5564">
          <p15:clr>
            <a:srgbClr val="A4A3A4"/>
          </p15:clr>
        </p15:guide>
        <p15:guide id="12" pos="5745">
          <p15:clr>
            <a:srgbClr val="A4A3A4"/>
          </p15:clr>
        </p15:guide>
        <p15:guide id="13" pos="7378">
          <p15:clr>
            <a:srgbClr val="A4A3A4"/>
          </p15:clr>
        </p15:guide>
        <p15:guide id="16" orient="horz" pos="2478">
          <p15:clr>
            <a:srgbClr val="A4A3A4"/>
          </p15:clr>
        </p15:guide>
        <p15:guide id="17" orient="horz" pos="2614">
          <p15:clr>
            <a:srgbClr val="A4A3A4"/>
          </p15:clr>
        </p15:guide>
        <p15:guide id="18" orient="horz" pos="3929">
          <p15:clr>
            <a:srgbClr val="A4A3A4"/>
          </p15:clr>
        </p15:guide>
        <p15:guide id="19" orient="horz" pos="4110">
          <p15:clr>
            <a:srgbClr val="A4A3A4"/>
          </p15:clr>
        </p15:guide>
        <p15:guide id="20" orient="horz" pos="1162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4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7" Type="http://schemas.openxmlformats.org/officeDocument/2006/relationships/image" Target="../media/image46.sv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5.png"/><Relationship Id="rId5" Type="http://schemas.openxmlformats.org/officeDocument/2006/relationships/image" Target="../media/image41.svg"/><Relationship Id="rId4" Type="http://schemas.openxmlformats.org/officeDocument/2006/relationships/image" Target="../media/image4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8.png"/><Relationship Id="rId7" Type="http://schemas.openxmlformats.org/officeDocument/2006/relationships/image" Target="../media/image52.sv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1.png"/><Relationship Id="rId5" Type="http://schemas.openxmlformats.org/officeDocument/2006/relationships/image" Target="../media/image50.jpeg"/><Relationship Id="rId4" Type="http://schemas.openxmlformats.org/officeDocument/2006/relationships/image" Target="../media/image49.jpeg"/><Relationship Id="rId9" Type="http://schemas.openxmlformats.org/officeDocument/2006/relationships/image" Target="../media/image54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6.bin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>
            <a:extLst>
              <a:ext uri="{FF2B5EF4-FFF2-40B4-BE49-F238E27FC236}">
                <a16:creationId xmlns:a16="http://schemas.microsoft.com/office/drawing/2014/main" id="{BDDCF03B-24AE-05EB-527C-A8170D91E66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3577" y="239873"/>
            <a:ext cx="10298047" cy="2403799"/>
          </a:xfrm>
        </p:spPr>
        <p:txBody>
          <a:bodyPr/>
          <a:lstStyle/>
          <a:p>
            <a:r>
              <a:rPr lang="en-US" sz="5400" dirty="0"/>
              <a:t>Bayesian Neural Networks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18B85F4C-6797-89F5-6EA7-2997BBF4E4B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29037" y="6270269"/>
            <a:ext cx="3984824" cy="262800"/>
          </a:xfrm>
        </p:spPr>
        <p:txBody>
          <a:bodyPr/>
          <a:lstStyle/>
          <a:p>
            <a:pPr algn="l"/>
            <a:r>
              <a:rPr lang="en-US" dirty="0"/>
              <a:t>Oscar Llorente Gonzalez  -  Senior Data Scientist  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15695D72-E891-28A4-9B93-F7EB42BD360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968538" y="6264000"/>
            <a:ext cx="4776104" cy="262800"/>
          </a:xfrm>
        </p:spPr>
        <p:txBody>
          <a:bodyPr/>
          <a:lstStyle/>
          <a:p>
            <a:r>
              <a:rPr lang="en-US" dirty="0"/>
              <a:t>Ericsson Cognitive Labs –  Geometric Artificial Intelligence (GAI) Lab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1133B3-17C3-57AA-A549-C7EA019C2094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September 2025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4DC836-EE7C-B530-394D-A88B2AFA875A}"/>
              </a:ext>
            </a:extLst>
          </p:cNvPr>
          <p:cNvSpPr txBox="1"/>
          <p:nvPr/>
        </p:nvSpPr>
        <p:spPr bwMode="auto">
          <a:xfrm>
            <a:off x="7101444" y="5510151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Ericsson Hilda Ligh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66470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7AFB91-C397-18B9-D437-5384E65606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C Dropout</a:t>
            </a:r>
          </a:p>
        </p:txBody>
      </p:sp>
      <p:pic>
        <p:nvPicPr>
          <p:cNvPr id="2050" name="Picture 2" descr="Schematic of Monte Carlo dropout. (top) Bernoulli dropout is applied to...  | Download Scientific Diagram">
            <a:extLst>
              <a:ext uri="{FF2B5EF4-FFF2-40B4-BE49-F238E27FC236}">
                <a16:creationId xmlns:a16="http://schemas.microsoft.com/office/drawing/2014/main" id="{50680333-7D80-F1FC-4DD1-A585341794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8805" y="2105758"/>
            <a:ext cx="5389516" cy="3709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77657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7F8588-DDFB-ACA8-F378-5B3FFDF585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GaussianDistribution</a:t>
            </a:r>
            <a:r>
              <a:rPr lang="en-US" dirty="0"/>
              <a:t> class</a:t>
            </a:r>
          </a:p>
        </p:txBody>
      </p:sp>
      <p:pic>
        <p:nvPicPr>
          <p:cNvPr id="5" name="Picture 4" descr="A screen shot of a computer program&#10;&#10;AI-generated content may be incorrect.">
            <a:extLst>
              <a:ext uri="{FF2B5EF4-FFF2-40B4-BE49-F238E27FC236}">
                <a16:creationId xmlns:a16="http://schemas.microsoft.com/office/drawing/2014/main" id="{17F114B7-D802-8A45-78A1-07E892B94D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557" y="2080471"/>
            <a:ext cx="4951359" cy="4043493"/>
          </a:xfrm>
          <a:prstGeom prst="rect">
            <a:avLst/>
          </a:prstGeom>
        </p:spPr>
      </p:pic>
      <p:pic>
        <p:nvPicPr>
          <p:cNvPr id="7" name="Picture 6" descr="A screen shot of a computer code&#10;&#10;AI-generated content may be incorrect.">
            <a:extLst>
              <a:ext uri="{FF2B5EF4-FFF2-40B4-BE49-F238E27FC236}">
                <a16:creationId xmlns:a16="http://schemas.microsoft.com/office/drawing/2014/main" id="{05B7589B-B21E-B06F-278C-D06CCDA9EB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7520" y="3315790"/>
            <a:ext cx="5230067" cy="1254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9595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B5C601-8A76-27A5-5227-A21E34E458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yesian Linear Layer</a:t>
            </a:r>
          </a:p>
        </p:txBody>
      </p:sp>
      <p:pic>
        <p:nvPicPr>
          <p:cNvPr id="5" name="Picture 4" descr="A screen shot of a computer program&#10;&#10;AI-generated content may be incorrect.">
            <a:extLst>
              <a:ext uri="{FF2B5EF4-FFF2-40B4-BE49-F238E27FC236}">
                <a16:creationId xmlns:a16="http://schemas.microsoft.com/office/drawing/2014/main" id="{8FC6EC65-4526-95A4-4F01-8023AA0CE9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768" y="2381157"/>
            <a:ext cx="6005147" cy="2854351"/>
          </a:xfrm>
          <a:prstGeom prst="rect">
            <a:avLst/>
          </a:prstGeom>
        </p:spPr>
      </p:pic>
      <p:pic>
        <p:nvPicPr>
          <p:cNvPr id="9" name="Picture 8" descr="A screenshot of a computer code&#10;&#10;AI-generated content may be incorrect.">
            <a:extLst>
              <a:ext uri="{FF2B5EF4-FFF2-40B4-BE49-F238E27FC236}">
                <a16:creationId xmlns:a16="http://schemas.microsoft.com/office/drawing/2014/main" id="{E68AC10C-8673-BA7D-F8C5-DF8664ED5A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5450" y="2967403"/>
            <a:ext cx="4869688" cy="1675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6004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8BD817-E005-6A28-A16C-D8E49535C8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ssage Pass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FD0CFBC-41B3-25DB-8EE7-345A07B624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196" y="2046647"/>
            <a:ext cx="6059373" cy="351746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84D4DAB-104E-F7E2-D623-E2890242BFB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16486"/>
          <a:stretch/>
        </p:blipFill>
        <p:spPr>
          <a:xfrm>
            <a:off x="6799643" y="3165301"/>
            <a:ext cx="4863702" cy="1280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8415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CB7AE7-7E59-6681-05F5-63E56DD98B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ph Neural Networks + BNNs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726E58A9-1AE6-DDA8-D91F-3FB7770ACC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313" y="1081088"/>
            <a:ext cx="11001375" cy="4695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77794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C51465-6783-8E33-CE0E-0C42EDAF6C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optimize a cellular network </a:t>
            </a:r>
          </a:p>
        </p:txBody>
      </p:sp>
      <p:sp>
        <p:nvSpPr>
          <p:cNvPr id="4" name="Hexagon 3">
            <a:extLst>
              <a:ext uri="{FF2B5EF4-FFF2-40B4-BE49-F238E27FC236}">
                <a16:creationId xmlns:a16="http://schemas.microsoft.com/office/drawing/2014/main" id="{DDD718E0-FB4C-3CC6-D30D-FFC0D30190CB}"/>
              </a:ext>
            </a:extLst>
          </p:cNvPr>
          <p:cNvSpPr/>
          <p:nvPr/>
        </p:nvSpPr>
        <p:spPr>
          <a:xfrm>
            <a:off x="708448" y="2909061"/>
            <a:ext cx="1618736" cy="1396313"/>
          </a:xfrm>
          <a:prstGeom prst="hexagon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Hexagon 4">
            <a:extLst>
              <a:ext uri="{FF2B5EF4-FFF2-40B4-BE49-F238E27FC236}">
                <a16:creationId xmlns:a16="http://schemas.microsoft.com/office/drawing/2014/main" id="{2F2C02B2-56A8-ECBF-B444-892276469C24}"/>
              </a:ext>
            </a:extLst>
          </p:cNvPr>
          <p:cNvSpPr/>
          <p:nvPr/>
        </p:nvSpPr>
        <p:spPr>
          <a:xfrm>
            <a:off x="1975581" y="2221303"/>
            <a:ext cx="1618736" cy="1396313"/>
          </a:xfrm>
          <a:prstGeom prst="hexagon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" name="Hexagon 5">
            <a:extLst>
              <a:ext uri="{FF2B5EF4-FFF2-40B4-BE49-F238E27FC236}">
                <a16:creationId xmlns:a16="http://schemas.microsoft.com/office/drawing/2014/main" id="{EB22DB6F-6E27-673E-5295-75DF53FD35E4}"/>
              </a:ext>
            </a:extLst>
          </p:cNvPr>
          <p:cNvSpPr/>
          <p:nvPr/>
        </p:nvSpPr>
        <p:spPr>
          <a:xfrm>
            <a:off x="708448" y="4305375"/>
            <a:ext cx="1618736" cy="1396313"/>
          </a:xfrm>
          <a:prstGeom prst="hexagon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Hexagon 6">
            <a:extLst>
              <a:ext uri="{FF2B5EF4-FFF2-40B4-BE49-F238E27FC236}">
                <a16:creationId xmlns:a16="http://schemas.microsoft.com/office/drawing/2014/main" id="{E221FCFA-60AE-3FC1-34CF-028FDA700FB2}"/>
              </a:ext>
            </a:extLst>
          </p:cNvPr>
          <p:cNvSpPr/>
          <p:nvPr/>
        </p:nvSpPr>
        <p:spPr>
          <a:xfrm>
            <a:off x="1983456" y="3617616"/>
            <a:ext cx="1618736" cy="1396313"/>
          </a:xfrm>
          <a:prstGeom prst="hexagon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Hexagon 7">
            <a:extLst>
              <a:ext uri="{FF2B5EF4-FFF2-40B4-BE49-F238E27FC236}">
                <a16:creationId xmlns:a16="http://schemas.microsoft.com/office/drawing/2014/main" id="{294A3297-A565-7CD1-DE89-66F416B94630}"/>
              </a:ext>
            </a:extLst>
          </p:cNvPr>
          <p:cNvSpPr/>
          <p:nvPr/>
        </p:nvSpPr>
        <p:spPr>
          <a:xfrm>
            <a:off x="3245249" y="3135258"/>
            <a:ext cx="1059489" cy="943917"/>
          </a:xfrm>
          <a:prstGeom prst="hexagon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" name="Hexagon 8">
            <a:extLst>
              <a:ext uri="{FF2B5EF4-FFF2-40B4-BE49-F238E27FC236}">
                <a16:creationId xmlns:a16="http://schemas.microsoft.com/office/drawing/2014/main" id="{0C12E398-5448-5535-AF94-09E471FAB46A}"/>
              </a:ext>
            </a:extLst>
          </p:cNvPr>
          <p:cNvSpPr/>
          <p:nvPr/>
        </p:nvSpPr>
        <p:spPr>
          <a:xfrm>
            <a:off x="1921490" y="4993132"/>
            <a:ext cx="1618736" cy="1396313"/>
          </a:xfrm>
          <a:prstGeom prst="hexagon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Hexagon 9">
            <a:extLst>
              <a:ext uri="{FF2B5EF4-FFF2-40B4-BE49-F238E27FC236}">
                <a16:creationId xmlns:a16="http://schemas.microsoft.com/office/drawing/2014/main" id="{CEC1585E-E821-9546-DED8-60A28E30CAB2}"/>
              </a:ext>
            </a:extLst>
          </p:cNvPr>
          <p:cNvSpPr/>
          <p:nvPr/>
        </p:nvSpPr>
        <p:spPr>
          <a:xfrm>
            <a:off x="4074311" y="3589262"/>
            <a:ext cx="1059489" cy="943917"/>
          </a:xfrm>
          <a:prstGeom prst="hexagon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id="{97CE6102-8077-B86A-46DA-5C96FC747FE5}"/>
              </a:ext>
            </a:extLst>
          </p:cNvPr>
          <p:cNvSpPr/>
          <p:nvPr/>
        </p:nvSpPr>
        <p:spPr>
          <a:xfrm>
            <a:off x="4053027" y="2645345"/>
            <a:ext cx="1059489" cy="943917"/>
          </a:xfrm>
          <a:prstGeom prst="hexagon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2" name="Hexagon 11">
            <a:extLst>
              <a:ext uri="{FF2B5EF4-FFF2-40B4-BE49-F238E27FC236}">
                <a16:creationId xmlns:a16="http://schemas.microsoft.com/office/drawing/2014/main" id="{520A189C-24A5-CBB3-085B-62AF66A262AF}"/>
              </a:ext>
            </a:extLst>
          </p:cNvPr>
          <p:cNvSpPr/>
          <p:nvPr/>
        </p:nvSpPr>
        <p:spPr>
          <a:xfrm>
            <a:off x="4086445" y="5475489"/>
            <a:ext cx="1059489" cy="943917"/>
          </a:xfrm>
          <a:prstGeom prst="hexagon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3" name="Hexagon 12">
            <a:extLst>
              <a:ext uri="{FF2B5EF4-FFF2-40B4-BE49-F238E27FC236}">
                <a16:creationId xmlns:a16="http://schemas.microsoft.com/office/drawing/2014/main" id="{836154C8-88A4-4C45-8269-8068D02E6720}"/>
              </a:ext>
            </a:extLst>
          </p:cNvPr>
          <p:cNvSpPr/>
          <p:nvPr/>
        </p:nvSpPr>
        <p:spPr>
          <a:xfrm>
            <a:off x="4898801" y="4049214"/>
            <a:ext cx="1059489" cy="943917"/>
          </a:xfrm>
          <a:prstGeom prst="hexagon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4" name="Hexagon 13">
            <a:extLst>
              <a:ext uri="{FF2B5EF4-FFF2-40B4-BE49-F238E27FC236}">
                <a16:creationId xmlns:a16="http://schemas.microsoft.com/office/drawing/2014/main" id="{E13678FD-3A1E-9953-803E-1D76269342D3}"/>
              </a:ext>
            </a:extLst>
          </p:cNvPr>
          <p:cNvSpPr/>
          <p:nvPr/>
        </p:nvSpPr>
        <p:spPr>
          <a:xfrm>
            <a:off x="4086445" y="4533179"/>
            <a:ext cx="1059489" cy="943917"/>
          </a:xfrm>
          <a:prstGeom prst="hexagon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pic>
        <p:nvPicPr>
          <p:cNvPr id="15" name="Graphic 14" descr="Cell Tower outline">
            <a:extLst>
              <a:ext uri="{FF2B5EF4-FFF2-40B4-BE49-F238E27FC236}">
                <a16:creationId xmlns:a16="http://schemas.microsoft.com/office/drawing/2014/main" id="{B70DB884-C4C6-F719-52E0-AE0F96D41F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2729" y="3294755"/>
            <a:ext cx="589013" cy="589013"/>
          </a:xfrm>
          <a:prstGeom prst="rect">
            <a:avLst/>
          </a:prstGeom>
        </p:spPr>
      </p:pic>
      <p:pic>
        <p:nvPicPr>
          <p:cNvPr id="16" name="Graphic 15" descr="Cell Tower outline">
            <a:extLst>
              <a:ext uri="{FF2B5EF4-FFF2-40B4-BE49-F238E27FC236}">
                <a16:creationId xmlns:a16="http://schemas.microsoft.com/office/drawing/2014/main" id="{68642E3D-1FAA-6269-4AB5-C01ACE03E6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27184" y="2915351"/>
            <a:ext cx="589013" cy="589013"/>
          </a:xfrm>
          <a:prstGeom prst="rect">
            <a:avLst/>
          </a:prstGeom>
        </p:spPr>
      </p:pic>
      <p:pic>
        <p:nvPicPr>
          <p:cNvPr id="17" name="Graphic 16" descr="Cell Tower outline">
            <a:extLst>
              <a:ext uri="{FF2B5EF4-FFF2-40B4-BE49-F238E27FC236}">
                <a16:creationId xmlns:a16="http://schemas.microsoft.com/office/drawing/2014/main" id="{FE233DF1-BE00-9D50-4B73-902FC433E3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84949" y="2398642"/>
            <a:ext cx="589013" cy="589013"/>
          </a:xfrm>
          <a:prstGeom prst="rect">
            <a:avLst/>
          </a:prstGeom>
        </p:spPr>
      </p:pic>
      <p:pic>
        <p:nvPicPr>
          <p:cNvPr id="18" name="Graphic 17" descr="Cell Tower outline">
            <a:extLst>
              <a:ext uri="{FF2B5EF4-FFF2-40B4-BE49-F238E27FC236}">
                <a16:creationId xmlns:a16="http://schemas.microsoft.com/office/drawing/2014/main" id="{2C510F1A-FF3A-9274-3FB2-D96012662B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643972" y="4313871"/>
            <a:ext cx="589013" cy="589013"/>
          </a:xfrm>
          <a:prstGeom prst="rect">
            <a:avLst/>
          </a:prstGeom>
        </p:spPr>
      </p:pic>
      <p:pic>
        <p:nvPicPr>
          <p:cNvPr id="19" name="Graphic 18" descr="Cell Tower outline">
            <a:extLst>
              <a:ext uri="{FF2B5EF4-FFF2-40B4-BE49-F238E27FC236}">
                <a16:creationId xmlns:a16="http://schemas.microsoft.com/office/drawing/2014/main" id="{5A82FF9A-F804-E39B-1F89-EE5C475ADA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72849" y="3707862"/>
            <a:ext cx="589013" cy="589013"/>
          </a:xfrm>
          <a:prstGeom prst="rect">
            <a:avLst/>
          </a:prstGeom>
        </p:spPr>
      </p:pic>
      <p:pic>
        <p:nvPicPr>
          <p:cNvPr id="20" name="Graphic 19" descr="Cell Tower outline">
            <a:extLst>
              <a:ext uri="{FF2B5EF4-FFF2-40B4-BE49-F238E27FC236}">
                <a16:creationId xmlns:a16="http://schemas.microsoft.com/office/drawing/2014/main" id="{6E0D851D-CD54-DEBB-FC0D-6986D92F5BC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16437" y="3784669"/>
            <a:ext cx="589013" cy="589013"/>
          </a:xfrm>
          <a:prstGeom prst="rect">
            <a:avLst/>
          </a:prstGeom>
        </p:spPr>
      </p:pic>
      <p:pic>
        <p:nvPicPr>
          <p:cNvPr id="21" name="Graphic 20" descr="Cell Tower outline">
            <a:extLst>
              <a:ext uri="{FF2B5EF4-FFF2-40B4-BE49-F238E27FC236}">
                <a16:creationId xmlns:a16="http://schemas.microsoft.com/office/drawing/2014/main" id="{9369E914-61E3-3221-0830-40BD49D861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09787" y="2842705"/>
            <a:ext cx="589013" cy="589013"/>
          </a:xfrm>
          <a:prstGeom prst="rect">
            <a:avLst/>
          </a:prstGeom>
        </p:spPr>
      </p:pic>
      <p:pic>
        <p:nvPicPr>
          <p:cNvPr id="22" name="Graphic 21" descr="Cell Tower outline">
            <a:extLst>
              <a:ext uri="{FF2B5EF4-FFF2-40B4-BE49-F238E27FC236}">
                <a16:creationId xmlns:a16="http://schemas.microsoft.com/office/drawing/2014/main" id="{D7A96F2A-E25F-373B-6C1E-101BB0BF60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21681" y="3770397"/>
            <a:ext cx="589013" cy="589013"/>
          </a:xfrm>
          <a:prstGeom prst="rect">
            <a:avLst/>
          </a:prstGeom>
        </p:spPr>
      </p:pic>
      <p:pic>
        <p:nvPicPr>
          <p:cNvPr id="23" name="Graphic 22" descr="Cell Tower outline">
            <a:extLst>
              <a:ext uri="{FF2B5EF4-FFF2-40B4-BE49-F238E27FC236}">
                <a16:creationId xmlns:a16="http://schemas.microsoft.com/office/drawing/2014/main" id="{21D8B5E6-06F9-EAC1-D030-F85CD55CC7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33800" y="4226666"/>
            <a:ext cx="589013" cy="589013"/>
          </a:xfrm>
          <a:prstGeom prst="rect">
            <a:avLst/>
          </a:prstGeom>
        </p:spPr>
      </p:pic>
      <p:pic>
        <p:nvPicPr>
          <p:cNvPr id="24" name="Graphic 23" descr="Cell Tower outline">
            <a:extLst>
              <a:ext uri="{FF2B5EF4-FFF2-40B4-BE49-F238E27FC236}">
                <a16:creationId xmlns:a16="http://schemas.microsoft.com/office/drawing/2014/main" id="{1FB82C8D-5ED4-BBC5-04AE-EC8CBF092F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21444" y="4709023"/>
            <a:ext cx="589013" cy="589013"/>
          </a:xfrm>
          <a:prstGeom prst="rect">
            <a:avLst/>
          </a:prstGeom>
        </p:spPr>
      </p:pic>
      <p:pic>
        <p:nvPicPr>
          <p:cNvPr id="25" name="Graphic 24" descr="Cell Tower outline">
            <a:extLst>
              <a:ext uri="{FF2B5EF4-FFF2-40B4-BE49-F238E27FC236}">
                <a16:creationId xmlns:a16="http://schemas.microsoft.com/office/drawing/2014/main" id="{ACA46D10-2501-40CC-F299-68A3B0E5511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37239" y="5013929"/>
            <a:ext cx="589013" cy="589013"/>
          </a:xfrm>
          <a:prstGeom prst="rect">
            <a:avLst/>
          </a:prstGeom>
        </p:spPr>
      </p:pic>
      <p:pic>
        <p:nvPicPr>
          <p:cNvPr id="26" name="Graphic 25" descr="Cell Tower outline">
            <a:extLst>
              <a:ext uri="{FF2B5EF4-FFF2-40B4-BE49-F238E27FC236}">
                <a16:creationId xmlns:a16="http://schemas.microsoft.com/office/drawing/2014/main" id="{78307CF9-A0A5-64DB-6207-1D26D93965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5689" y="4521173"/>
            <a:ext cx="589013" cy="589013"/>
          </a:xfrm>
          <a:prstGeom prst="rect">
            <a:avLst/>
          </a:prstGeom>
        </p:spPr>
      </p:pic>
      <p:pic>
        <p:nvPicPr>
          <p:cNvPr id="27" name="Graphic 26" descr="Cell Tower outline">
            <a:extLst>
              <a:ext uri="{FF2B5EF4-FFF2-40B4-BE49-F238E27FC236}">
                <a16:creationId xmlns:a16="http://schemas.microsoft.com/office/drawing/2014/main" id="{268AF073-5653-328A-0139-020D122DB3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36352" y="5396781"/>
            <a:ext cx="589013" cy="589013"/>
          </a:xfrm>
          <a:prstGeom prst="rect">
            <a:avLst/>
          </a:prstGeom>
        </p:spPr>
      </p:pic>
      <p:pic>
        <p:nvPicPr>
          <p:cNvPr id="28" name="Graphic 27" descr="Cell Tower outline">
            <a:extLst>
              <a:ext uri="{FF2B5EF4-FFF2-40B4-BE49-F238E27FC236}">
                <a16:creationId xmlns:a16="http://schemas.microsoft.com/office/drawing/2014/main" id="{EFE8EF1E-19A8-8955-4F43-BCAA954227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552" y="3676269"/>
            <a:ext cx="589013" cy="589013"/>
          </a:xfrm>
          <a:prstGeom prst="rect">
            <a:avLst/>
          </a:prstGeom>
        </p:spPr>
      </p:pic>
      <p:pic>
        <p:nvPicPr>
          <p:cNvPr id="29" name="Graphic 28" descr="Cell Tower outline">
            <a:extLst>
              <a:ext uri="{FF2B5EF4-FFF2-40B4-BE49-F238E27FC236}">
                <a16:creationId xmlns:a16="http://schemas.microsoft.com/office/drawing/2014/main" id="{5848F20B-321B-B1B9-6BFD-2C677EE77A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55217" y="3140171"/>
            <a:ext cx="589013" cy="589013"/>
          </a:xfrm>
          <a:prstGeom prst="rect">
            <a:avLst/>
          </a:prstGeom>
        </p:spPr>
      </p:pic>
      <p:pic>
        <p:nvPicPr>
          <p:cNvPr id="30" name="Graphic 29" descr="Cell Tower outline">
            <a:extLst>
              <a:ext uri="{FF2B5EF4-FFF2-40B4-BE49-F238E27FC236}">
                <a16:creationId xmlns:a16="http://schemas.microsoft.com/office/drawing/2014/main" id="{0C02BCE4-5614-7BBD-3430-2E275C8406C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2755" y="3003415"/>
            <a:ext cx="589013" cy="589013"/>
          </a:xfrm>
          <a:prstGeom prst="rect">
            <a:avLst/>
          </a:prstGeom>
        </p:spPr>
      </p:pic>
      <p:pic>
        <p:nvPicPr>
          <p:cNvPr id="31" name="Graphic 30" descr="Cell Tower outline">
            <a:extLst>
              <a:ext uri="{FF2B5EF4-FFF2-40B4-BE49-F238E27FC236}">
                <a16:creationId xmlns:a16="http://schemas.microsoft.com/office/drawing/2014/main" id="{750D9EBC-C4D6-85B2-52F8-1DD66A4958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22981" y="5636594"/>
            <a:ext cx="589013" cy="589013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F6C959D5-13C6-84FC-8819-4FD1378D60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81437" y="2070614"/>
            <a:ext cx="4661800" cy="2867499"/>
          </a:xfrm>
          <a:prstGeom prst="rect">
            <a:avLst/>
          </a:prstGeom>
        </p:spPr>
      </p:pic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3D6394E2-4524-C32A-2BEA-658D5C7B7490}"/>
              </a:ext>
            </a:extLst>
          </p:cNvPr>
          <p:cNvSpPr/>
          <p:nvPr/>
        </p:nvSpPr>
        <p:spPr>
          <a:xfrm>
            <a:off x="9936107" y="5156837"/>
            <a:ext cx="1260389" cy="68775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ES" sz="933" b="1" dirty="0" err="1">
                <a:latin typeface="Ericsson Hilda (Body)"/>
              </a:rPr>
              <a:t>Optimization</a:t>
            </a:r>
            <a:endParaRPr lang="es-ES" sz="933" b="1" dirty="0">
              <a:latin typeface="Ericsson Hilda (Body)"/>
            </a:endParaRP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CC31204A-9EB0-EC47-4391-D62CA67E799C}"/>
              </a:ext>
            </a:extLst>
          </p:cNvPr>
          <p:cNvCxnSpPr>
            <a:stCxn id="33" idx="0"/>
          </p:cNvCxnSpPr>
          <p:nvPr/>
        </p:nvCxnSpPr>
        <p:spPr>
          <a:xfrm flipV="1">
            <a:off x="10566301" y="4753186"/>
            <a:ext cx="4120" cy="403651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E6CC31D3-DBB2-15BC-6E17-C29154E2270A}"/>
              </a:ext>
            </a:extLst>
          </p:cNvPr>
          <p:cNvSpPr/>
          <p:nvPr/>
        </p:nvSpPr>
        <p:spPr>
          <a:xfrm>
            <a:off x="366768" y="1557338"/>
            <a:ext cx="4915447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67" b="1" dirty="0">
                <a:solidFill>
                  <a:srgbClr val="181818"/>
                </a:solidFill>
                <a:latin typeface="Ericsson Hilda (Body)"/>
              </a:rPr>
              <a:t>Cellular Network</a:t>
            </a:r>
            <a:endParaRPr lang="en-US" sz="1400" dirty="0">
              <a:latin typeface="Ericsson Hilda (Body)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D5DB5FE-FA14-571E-D1C1-0FFB4D0B3F9A}"/>
              </a:ext>
            </a:extLst>
          </p:cNvPr>
          <p:cNvSpPr/>
          <p:nvPr/>
        </p:nvSpPr>
        <p:spPr>
          <a:xfrm>
            <a:off x="6601358" y="1620789"/>
            <a:ext cx="4915447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67" b="1" dirty="0">
                <a:solidFill>
                  <a:srgbClr val="181818"/>
                </a:solidFill>
                <a:latin typeface="Ericsson Hilda (Body)"/>
              </a:rPr>
              <a:t>Solution Architecture</a:t>
            </a:r>
            <a:endParaRPr lang="en-US" sz="1400" dirty="0">
              <a:latin typeface="Ericsson Hilda (Body)"/>
            </a:endParaRPr>
          </a:p>
        </p:txBody>
      </p:sp>
    </p:spTree>
    <p:extLst>
      <p:ext uri="{BB962C8B-B14F-4D97-AF65-F5344CB8AC3E}">
        <p14:creationId xmlns:p14="http://schemas.microsoft.com/office/powerpoint/2010/main" val="3081796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4A1044-8DD4-0C15-41F1-45A0C62C34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plink Interference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27B4141A-4340-06AE-59F6-2C5DA4E3387D}"/>
              </a:ext>
            </a:extLst>
          </p:cNvPr>
          <p:cNvSpPr/>
          <p:nvPr/>
        </p:nvSpPr>
        <p:spPr>
          <a:xfrm>
            <a:off x="1120345" y="1831375"/>
            <a:ext cx="5696464" cy="2961503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71A64CE-FD26-9F2B-4473-8425A6C81311}"/>
              </a:ext>
            </a:extLst>
          </p:cNvPr>
          <p:cNvSpPr/>
          <p:nvPr/>
        </p:nvSpPr>
        <p:spPr>
          <a:xfrm>
            <a:off x="5811792" y="1781945"/>
            <a:ext cx="5696464" cy="2961503"/>
          </a:xfrm>
          <a:prstGeom prst="ellips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6" name="Graphic 5" descr="Cell Tower with solid fill">
            <a:extLst>
              <a:ext uri="{FF2B5EF4-FFF2-40B4-BE49-F238E27FC236}">
                <a16:creationId xmlns:a16="http://schemas.microsoft.com/office/drawing/2014/main" id="{2FB4DB81-6480-1962-8706-09DA36AA4A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63561" y="1689266"/>
            <a:ext cx="2010033" cy="2010033"/>
          </a:xfrm>
          <a:prstGeom prst="rect">
            <a:avLst/>
          </a:prstGeom>
        </p:spPr>
      </p:pic>
      <p:pic>
        <p:nvPicPr>
          <p:cNvPr id="7" name="Graphic 6" descr="Cell Tower outline">
            <a:extLst>
              <a:ext uri="{FF2B5EF4-FFF2-40B4-BE49-F238E27FC236}">
                <a16:creationId xmlns:a16="http://schemas.microsoft.com/office/drawing/2014/main" id="{57FDDF4A-7456-1B09-0863-4D9F3E85D08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564392" y="1732514"/>
            <a:ext cx="2191265" cy="2191265"/>
          </a:xfrm>
          <a:prstGeom prst="rect">
            <a:avLst/>
          </a:prstGeom>
        </p:spPr>
      </p:pic>
      <p:pic>
        <p:nvPicPr>
          <p:cNvPr id="8" name="Graphic 7" descr="Phone Vibration with solid fill">
            <a:extLst>
              <a:ext uri="{FF2B5EF4-FFF2-40B4-BE49-F238E27FC236}">
                <a16:creationId xmlns:a16="http://schemas.microsoft.com/office/drawing/2014/main" id="{B72CF577-4C69-8091-0B65-904D51FCC0C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32388" y="2826090"/>
            <a:ext cx="873209" cy="873209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DB52D09B-4BD3-9A3B-D4AD-2F749936E594}"/>
              </a:ext>
            </a:extLst>
          </p:cNvPr>
          <p:cNvCxnSpPr>
            <a:cxnSpLocks/>
          </p:cNvCxnSpPr>
          <p:nvPr/>
        </p:nvCxnSpPr>
        <p:spPr>
          <a:xfrm>
            <a:off x="4733664" y="2610872"/>
            <a:ext cx="1209936" cy="4644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20409417-9041-758A-589D-F85D2BAC82B8}"/>
              </a:ext>
            </a:extLst>
          </p:cNvPr>
          <p:cNvCxnSpPr>
            <a:cxnSpLocks/>
          </p:cNvCxnSpPr>
          <p:nvPr/>
        </p:nvCxnSpPr>
        <p:spPr>
          <a:xfrm flipH="1" flipV="1">
            <a:off x="4663645" y="2776659"/>
            <a:ext cx="1186248" cy="44073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E8B12B34-D3B9-F09A-8523-32E023D645D3}"/>
              </a:ext>
            </a:extLst>
          </p:cNvPr>
          <p:cNvCxnSpPr>
            <a:cxnSpLocks/>
            <a:endCxn id="4" idx="6"/>
          </p:cNvCxnSpPr>
          <p:nvPr/>
        </p:nvCxnSpPr>
        <p:spPr>
          <a:xfrm flipH="1">
            <a:off x="6816810" y="3075289"/>
            <a:ext cx="1182132" cy="23683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A9C960F9-B281-AF4B-2762-1C9F76576561}"/>
              </a:ext>
            </a:extLst>
          </p:cNvPr>
          <p:cNvCxnSpPr>
            <a:cxnSpLocks/>
          </p:cNvCxnSpPr>
          <p:nvPr/>
        </p:nvCxnSpPr>
        <p:spPr>
          <a:xfrm flipV="1">
            <a:off x="6775615" y="2945544"/>
            <a:ext cx="1223327" cy="2291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CD3157F3-BDCC-0F0D-4BA6-7C1EEDFE6BEF}"/>
              </a:ext>
            </a:extLst>
          </p:cNvPr>
          <p:cNvSpPr txBox="1"/>
          <p:nvPr/>
        </p:nvSpPr>
        <p:spPr>
          <a:xfrm>
            <a:off x="6268991" y="785170"/>
            <a:ext cx="3414588" cy="369332"/>
          </a:xfrm>
          <a:prstGeom prst="rect">
            <a:avLst/>
          </a:prstGeom>
          <a:ln w="9525">
            <a:solidFill>
              <a:schemeClr val="accent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s-ES" dirty="0"/>
              <a:t>Interference from neighbor cel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47DBAA0-A421-7CB2-7DC0-5B783D05F46D}"/>
              </a:ext>
            </a:extLst>
          </p:cNvPr>
          <p:cNvSpPr txBox="1"/>
          <p:nvPr/>
        </p:nvSpPr>
        <p:spPr>
          <a:xfrm>
            <a:off x="2868822" y="3595187"/>
            <a:ext cx="2195389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s-ES" dirty="0"/>
              <a:t>Serving eNB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0C9C55C-2A39-D9FD-A61C-12B00FBFFAD2}"/>
              </a:ext>
            </a:extLst>
          </p:cNvPr>
          <p:cNvSpPr txBox="1"/>
          <p:nvPr/>
        </p:nvSpPr>
        <p:spPr>
          <a:xfrm>
            <a:off x="7473428" y="3712829"/>
            <a:ext cx="2373189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s-ES" dirty="0"/>
              <a:t>Neighbor eNB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F269CD2-03C4-4F3C-4A85-F8DEA0926203}"/>
              </a:ext>
            </a:extLst>
          </p:cNvPr>
          <p:cNvCxnSpPr>
            <a:stCxn id="13" idx="2"/>
          </p:cNvCxnSpPr>
          <p:nvPr/>
        </p:nvCxnSpPr>
        <p:spPr>
          <a:xfrm flipH="1">
            <a:off x="7407875" y="1154502"/>
            <a:ext cx="568410" cy="1789618"/>
          </a:xfrm>
          <a:prstGeom prst="straightConnector1">
            <a:avLst/>
          </a:prstGeom>
          <a:ln w="9525" cap="flat" cmpd="sng" algn="ctr">
            <a:solidFill>
              <a:schemeClr val="accent2"/>
            </a:solidFill>
            <a:prstDash val="sys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2F8A8A5-0DD6-E756-F662-C006213FD601}"/>
              </a:ext>
            </a:extLst>
          </p:cNvPr>
          <p:cNvSpPr txBox="1"/>
          <p:nvPr/>
        </p:nvSpPr>
        <p:spPr bwMode="auto">
          <a:xfrm>
            <a:off x="244253" y="5069448"/>
            <a:ext cx="5699347" cy="1267107"/>
          </a:xfrm>
          <a:prstGeom prst="rect">
            <a:avLst/>
          </a:prstGeom>
          <a:noFill/>
          <a:ln w="12700">
            <a:solidFill>
              <a:schemeClr val="accent5">
                <a:lumMod val="75000"/>
              </a:schemeClr>
            </a:solidFill>
            <a:miter lim="800000"/>
            <a:headEnd/>
            <a:tailEnd/>
          </a:ln>
        </p:spPr>
        <p:txBody>
          <a:bodyPr vert="horz" wrap="square" lIns="96000" tIns="48000" rIns="97536" bIns="4876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1219170" rtl="0">
              <a:buClr>
                <a:srgbClr val="181818"/>
              </a:buClr>
              <a:defRPr/>
            </a:pPr>
            <a:r>
              <a:rPr lang="en-US" sz="1867" u="sng" kern="1200" dirty="0">
                <a:solidFill>
                  <a:srgbClr val="181818"/>
                </a:solidFill>
                <a:latin typeface="Ericsson Hilda"/>
                <a:ea typeface="+mn-ea"/>
                <a:cs typeface="+mn-cs"/>
              </a:rPr>
              <a:t>pZeroNominalPusch (p0)</a:t>
            </a:r>
          </a:p>
          <a:p>
            <a:pPr marL="1068891" lvl="1" indent="-459306" algn="l" defTabSz="1219170" rtl="0">
              <a:buClr>
                <a:srgbClr val="181818"/>
              </a:buClr>
              <a:buFont typeface="Ericsson Hilda Light" panose="00000400000000000000" pitchFamily="2" charset="0"/>
              <a:buChar char="—"/>
              <a:defRPr/>
            </a:pPr>
            <a:r>
              <a:rPr lang="en-US" sz="1867" kern="1200" dirty="0">
                <a:solidFill>
                  <a:srgbClr val="181818"/>
                </a:solidFill>
                <a:latin typeface="Ericsson Hilda"/>
                <a:ea typeface="+mn-ea"/>
                <a:cs typeface="+mn-cs"/>
              </a:rPr>
              <a:t>Target uplink transmission power of UE</a:t>
            </a:r>
          </a:p>
          <a:p>
            <a:pPr marL="1068891" lvl="1" indent="-459306" algn="l" defTabSz="1219170" rtl="0">
              <a:buClr>
                <a:srgbClr val="181818"/>
              </a:buClr>
              <a:buFont typeface="Ericsson Hilda Light" panose="00000400000000000000" pitchFamily="2" charset="0"/>
              <a:buChar char="—"/>
              <a:defRPr/>
            </a:pPr>
            <a:r>
              <a:rPr lang="en-US" sz="1867" kern="1200" dirty="0">
                <a:solidFill>
                  <a:srgbClr val="181818"/>
                </a:solidFill>
                <a:latin typeface="Ericsson Hilda"/>
                <a:ea typeface="+mn-ea"/>
                <a:cs typeface="+mn-cs"/>
              </a:rPr>
              <a:t>High p0 = </a:t>
            </a:r>
            <a:r>
              <a:rPr lang="en-US" sz="1867" kern="1200" dirty="0">
                <a:solidFill>
                  <a:srgbClr val="0FC373">
                    <a:lumMod val="75000"/>
                  </a:srgbClr>
                </a:solidFill>
                <a:latin typeface="Ericsson Hilda"/>
                <a:ea typeface="+mn-ea"/>
                <a:cs typeface="+mn-cs"/>
              </a:rPr>
              <a:t>high UE throughput</a:t>
            </a:r>
            <a:r>
              <a:rPr lang="en-US" sz="1867" kern="1200" dirty="0">
                <a:solidFill>
                  <a:srgbClr val="181818"/>
                </a:solidFill>
                <a:latin typeface="Ericsson Hilda"/>
                <a:ea typeface="+mn-ea"/>
                <a:cs typeface="+mn-cs"/>
              </a:rPr>
              <a:t>, but also </a:t>
            </a:r>
            <a:r>
              <a:rPr lang="en-US" sz="1867" kern="1200" dirty="0">
                <a:solidFill>
                  <a:srgbClr val="FF3232"/>
                </a:solidFill>
                <a:latin typeface="Ericsson Hilda"/>
                <a:ea typeface="+mn-ea"/>
                <a:cs typeface="+mn-cs"/>
              </a:rPr>
              <a:t>higher interference on neighbor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E31F9C9-11A4-2776-5DA9-C5EFB7F611DE}"/>
              </a:ext>
            </a:extLst>
          </p:cNvPr>
          <p:cNvSpPr/>
          <p:nvPr/>
        </p:nvSpPr>
        <p:spPr>
          <a:xfrm>
            <a:off x="6096000" y="5064412"/>
            <a:ext cx="5851747" cy="1241622"/>
          </a:xfrm>
          <a:prstGeom prst="rect">
            <a:avLst/>
          </a:prstGeom>
          <a:ln w="12700">
            <a:solidFill>
              <a:schemeClr val="accent5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ctr" defTabSz="1219170" rtl="0">
              <a:buClr>
                <a:srgbClr val="181818"/>
              </a:buClr>
              <a:defRPr/>
            </a:pPr>
            <a:r>
              <a:rPr lang="en-US" sz="1867" u="sng" kern="1200" dirty="0">
                <a:solidFill>
                  <a:srgbClr val="181818"/>
                </a:solidFill>
                <a:latin typeface="Ericsson Hilda"/>
                <a:ea typeface="+mn-ea"/>
                <a:cs typeface="+mn-cs"/>
              </a:rPr>
              <a:t>Alpha (a)</a:t>
            </a:r>
          </a:p>
          <a:p>
            <a:pPr marL="1068891" lvl="1" indent="-459306" algn="l" defTabSz="1219170" rtl="0">
              <a:buClr>
                <a:srgbClr val="181818"/>
              </a:buClr>
              <a:buFont typeface="Ericsson Hilda Light" panose="00000400000000000000" pitchFamily="2" charset="0"/>
              <a:buChar char="—"/>
              <a:defRPr/>
            </a:pPr>
            <a:r>
              <a:rPr lang="en-US" sz="1867" kern="1200" dirty="0">
                <a:solidFill>
                  <a:srgbClr val="181818"/>
                </a:solidFill>
                <a:latin typeface="Ericsson Hilda"/>
                <a:ea typeface="+mn-ea"/>
                <a:cs typeface="+mn-cs"/>
              </a:rPr>
              <a:t>Pathloss compensation factor</a:t>
            </a:r>
          </a:p>
          <a:p>
            <a:pPr marL="1068891" lvl="1" indent="-459306" algn="l" defTabSz="1219170" rtl="0">
              <a:buClr>
                <a:srgbClr val="181818"/>
              </a:buClr>
              <a:buFont typeface="Ericsson Hilda Light" panose="00000400000000000000" pitchFamily="2" charset="0"/>
              <a:buChar char="—"/>
              <a:defRPr/>
            </a:pPr>
            <a:r>
              <a:rPr lang="en-US" sz="1867" kern="1200" dirty="0">
                <a:solidFill>
                  <a:srgbClr val="181818"/>
                </a:solidFill>
                <a:latin typeface="Ericsson Hilda"/>
                <a:ea typeface="+mn-ea"/>
                <a:cs typeface="+mn-cs"/>
              </a:rPr>
              <a:t>High a = </a:t>
            </a:r>
            <a:r>
              <a:rPr lang="en-US" sz="1867" kern="1200" dirty="0">
                <a:solidFill>
                  <a:srgbClr val="0FC373">
                    <a:lumMod val="75000"/>
                  </a:srgbClr>
                </a:solidFill>
                <a:latin typeface="Ericsson Hilda"/>
                <a:ea typeface="+mn-ea"/>
                <a:cs typeface="+mn-cs"/>
              </a:rPr>
              <a:t>higher UE throughput at cell border</a:t>
            </a:r>
            <a:r>
              <a:rPr lang="en-US" sz="1867" kern="1200" dirty="0">
                <a:solidFill>
                  <a:srgbClr val="181818"/>
                </a:solidFill>
                <a:latin typeface="Ericsson Hilda"/>
                <a:ea typeface="+mn-ea"/>
                <a:cs typeface="+mn-cs"/>
              </a:rPr>
              <a:t>, </a:t>
            </a:r>
            <a:r>
              <a:rPr lang="en-US" sz="1867" kern="1200" dirty="0">
                <a:solidFill>
                  <a:srgbClr val="FF3232"/>
                </a:solidFill>
                <a:latin typeface="Ericsson Hilda"/>
                <a:ea typeface="+mn-ea"/>
                <a:cs typeface="+mn-cs"/>
              </a:rPr>
              <a:t>higher neighbor interference</a:t>
            </a:r>
          </a:p>
        </p:txBody>
      </p:sp>
    </p:spTree>
    <p:extLst>
      <p:ext uri="{BB962C8B-B14F-4D97-AF65-F5344CB8AC3E}">
        <p14:creationId xmlns:p14="http://schemas.microsoft.com/office/powerpoint/2010/main" val="27353420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9E144377-0138-5EE3-85E1-E1E458C5D833}"/>
              </a:ext>
            </a:extLst>
          </p:cNvPr>
          <p:cNvGrpSpPr/>
          <p:nvPr/>
        </p:nvGrpSpPr>
        <p:grpSpPr>
          <a:xfrm>
            <a:off x="1586813" y="1007370"/>
            <a:ext cx="4957720" cy="4957720"/>
            <a:chOff x="563891" y="1775585"/>
            <a:chExt cx="3718290" cy="371829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20DF1085-CF39-6677-CDC7-A84A4E981A2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3891" y="1775585"/>
              <a:ext cx="3718290" cy="37182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829D268-89A7-8AB9-EFE9-6B992678B9A8}"/>
                </a:ext>
              </a:extLst>
            </p:cNvPr>
            <p:cNvSpPr/>
            <p:nvPr/>
          </p:nvSpPr>
          <p:spPr bwMode="auto">
            <a:xfrm>
              <a:off x="2917435" y="2935134"/>
              <a:ext cx="421078" cy="465288"/>
            </a:xfrm>
            <a:prstGeom prst="rect">
              <a:avLst/>
            </a:prstGeom>
            <a:solidFill>
              <a:schemeClr val="accent1">
                <a:alpha val="2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9994" indent="-239994">
                <a:spcBef>
                  <a:spcPts val="1067"/>
                </a:spcBef>
                <a:buFont typeface="Ericsson Hilda" panose="00000500000000000000" pitchFamily="2" charset="0"/>
                <a:buChar char="●"/>
              </a:pPr>
              <a:endParaRPr lang="en-US" sz="2400" err="1">
                <a:solidFill>
                  <a:srgbClr val="FFFFFF"/>
                </a:solidFill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63DB20BD-2E53-E738-91DA-025733DE27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60170" y="3261530"/>
            <a:ext cx="1015685" cy="1048369"/>
          </a:xfrm>
          <a:prstGeom prst="rect">
            <a:avLst/>
          </a:prstGeom>
        </p:spPr>
      </p:pic>
      <p:pic>
        <p:nvPicPr>
          <p:cNvPr id="8" name="Picture 4" descr="Configuration Management - Visualisation - YouTube">
            <a:extLst>
              <a:ext uri="{FF2B5EF4-FFF2-40B4-BE49-F238E27FC236}">
                <a16:creationId xmlns:a16="http://schemas.microsoft.com/office/drawing/2014/main" id="{D3E28529-A6E5-284A-3475-FCEE5DDBA1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7993" y="4537851"/>
            <a:ext cx="952691" cy="53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94D6AF2-D6DB-04F8-15B8-A9A8392524C0}"/>
              </a:ext>
            </a:extLst>
          </p:cNvPr>
          <p:cNvSpPr txBox="1"/>
          <p:nvPr/>
        </p:nvSpPr>
        <p:spPr>
          <a:xfrm>
            <a:off x="6200863" y="1837404"/>
            <a:ext cx="2228403" cy="1806113"/>
          </a:xfrm>
          <a:prstGeom prst="rect">
            <a:avLst/>
          </a:prstGeom>
        </p:spPr>
        <p:txBody>
          <a:bodyPr vert="horz" wrap="square" lIns="96000" tIns="48000" rIns="96000" bIns="48000" rtlCol="0" anchor="t">
            <a:noAutofit/>
          </a:bodyPr>
          <a:lstStyle/>
          <a:p>
            <a:pPr fontAlgn="base">
              <a:spcBef>
                <a:spcPts val="533"/>
              </a:spcBef>
              <a:spcAft>
                <a:spcPct val="0"/>
              </a:spcAft>
            </a:pPr>
            <a:r>
              <a:rPr lang="en-US" sz="1067" b="1" dirty="0">
                <a:cs typeface="Arial"/>
              </a:rPr>
              <a:t>Relation information:</a:t>
            </a:r>
          </a:p>
          <a:p>
            <a:pPr defTabSz="1219170" fontAlgn="base">
              <a:spcBef>
                <a:spcPts val="533"/>
              </a:spcBef>
              <a:spcAft>
                <a:spcPct val="0"/>
              </a:spcAft>
            </a:pPr>
            <a:r>
              <a:rPr lang="en-US" sz="1067" dirty="0">
                <a:cs typeface="Arial"/>
              </a:rPr>
              <a:t>- Physical distance</a:t>
            </a:r>
          </a:p>
          <a:p>
            <a:pPr defTabSz="1219170" fontAlgn="base">
              <a:spcBef>
                <a:spcPts val="533"/>
              </a:spcBef>
              <a:spcAft>
                <a:spcPct val="0"/>
              </a:spcAft>
            </a:pPr>
            <a:r>
              <a:rPr lang="en-US" sz="1067" dirty="0">
                <a:cs typeface="Arial"/>
              </a:rPr>
              <a:t>- Traffic exchanged</a:t>
            </a:r>
          </a:p>
          <a:p>
            <a:pPr defTabSz="1219170" fontAlgn="base">
              <a:spcBef>
                <a:spcPts val="533"/>
              </a:spcBef>
              <a:spcAft>
                <a:spcPct val="0"/>
              </a:spcAft>
            </a:pPr>
            <a:r>
              <a:rPr lang="en-US" sz="1067" dirty="0">
                <a:cs typeface="Arial"/>
              </a:rPr>
              <a:t>- Footprint overlap</a:t>
            </a:r>
          </a:p>
          <a:p>
            <a:pPr defTabSz="1219170" fontAlgn="base">
              <a:spcBef>
                <a:spcPts val="533"/>
              </a:spcBef>
              <a:spcAft>
                <a:spcPct val="0"/>
              </a:spcAft>
            </a:pPr>
            <a:r>
              <a:rPr lang="en-US" sz="1067" dirty="0">
                <a:cs typeface="Arial"/>
              </a:rPr>
              <a:t>- Relation parameters</a:t>
            </a:r>
          </a:p>
        </p:txBody>
      </p:sp>
      <p:sp>
        <p:nvSpPr>
          <p:cNvPr id="10" name="Left Brace 9">
            <a:extLst>
              <a:ext uri="{FF2B5EF4-FFF2-40B4-BE49-F238E27FC236}">
                <a16:creationId xmlns:a16="http://schemas.microsoft.com/office/drawing/2014/main" id="{46CB386A-E9F0-1A0D-54E7-898F366DB97D}"/>
              </a:ext>
            </a:extLst>
          </p:cNvPr>
          <p:cNvSpPr/>
          <p:nvPr/>
        </p:nvSpPr>
        <p:spPr bwMode="auto">
          <a:xfrm>
            <a:off x="8429265" y="3033501"/>
            <a:ext cx="194891" cy="2111856"/>
          </a:xfrm>
          <a:prstGeom prst="leftBrac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  <p:txBody>
          <a:bodyPr rtlCol="0" anchor="ctr"/>
          <a:lstStyle/>
          <a:p>
            <a:pPr algn="ctr"/>
            <a:endParaRPr lang="en-US" sz="240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12F3845-7745-986C-FE61-657E8646F19E}"/>
              </a:ext>
            </a:extLst>
          </p:cNvPr>
          <p:cNvGrpSpPr/>
          <p:nvPr/>
        </p:nvGrpSpPr>
        <p:grpSpPr>
          <a:xfrm>
            <a:off x="8020583" y="1740359"/>
            <a:ext cx="2178932" cy="1177092"/>
            <a:chOff x="4117705" y="3552061"/>
            <a:chExt cx="2761553" cy="1553971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1A8FEE0-9B65-05E2-86C9-D51FDDB080A2}"/>
                </a:ext>
              </a:extLst>
            </p:cNvPr>
            <p:cNvGrpSpPr/>
            <p:nvPr/>
          </p:nvGrpSpPr>
          <p:grpSpPr>
            <a:xfrm>
              <a:off x="4117705" y="3555637"/>
              <a:ext cx="2761553" cy="1550395"/>
              <a:chOff x="6420389" y="5201141"/>
              <a:chExt cx="2761553" cy="1550395"/>
            </a:xfrm>
          </p:grpSpPr>
          <p:pic>
            <p:nvPicPr>
              <p:cNvPr id="120" name="Picture 6" descr="3 Ways Aerial Imagery Can Be Used To Advance Sustainability | Nearmap US">
                <a:extLst>
                  <a:ext uri="{FF2B5EF4-FFF2-40B4-BE49-F238E27FC236}">
                    <a16:creationId xmlns:a16="http://schemas.microsoft.com/office/drawing/2014/main" id="{60F49663-E37D-0BC5-8B32-858628DCEC3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27120" y="5201141"/>
                <a:ext cx="2754822" cy="155039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21" name="Rectangle 120">
                <a:extLst>
                  <a:ext uri="{FF2B5EF4-FFF2-40B4-BE49-F238E27FC236}">
                    <a16:creationId xmlns:a16="http://schemas.microsoft.com/office/drawing/2014/main" id="{C4DA55CD-03F0-02C2-570E-78F4D5A09068}"/>
                  </a:ext>
                </a:extLst>
              </p:cNvPr>
              <p:cNvSpPr/>
              <p:nvPr/>
            </p:nvSpPr>
            <p:spPr bwMode="auto">
              <a:xfrm>
                <a:off x="6420389" y="5201141"/>
                <a:ext cx="2761553" cy="1550236"/>
              </a:xfrm>
              <a:prstGeom prst="rect">
                <a:avLst/>
              </a:prstGeom>
              <a:solidFill>
                <a:schemeClr val="tx2">
                  <a:lumMod val="75000"/>
                  <a:lumOff val="25000"/>
                  <a:alpha val="50000"/>
                </a:scheme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3" name="Isosceles Triangle 12">
              <a:extLst>
                <a:ext uri="{FF2B5EF4-FFF2-40B4-BE49-F238E27FC236}">
                  <a16:creationId xmlns:a16="http://schemas.microsoft.com/office/drawing/2014/main" id="{253E11FA-F4C9-5126-C53F-306986292AE5}"/>
                </a:ext>
              </a:extLst>
            </p:cNvPr>
            <p:cNvSpPr/>
            <p:nvPr/>
          </p:nvSpPr>
          <p:spPr bwMode="auto">
            <a:xfrm rot="13842107">
              <a:off x="4617056" y="3989277"/>
              <a:ext cx="797870" cy="970954"/>
            </a:xfrm>
            <a:prstGeom prst="triangle">
              <a:avLst>
                <a:gd name="adj" fmla="val 49856"/>
              </a:avLst>
            </a:prstGeom>
            <a:solidFill>
              <a:schemeClr val="accent1">
                <a:alpha val="4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9994" indent="-239994">
                <a:spcBef>
                  <a:spcPts val="1067"/>
                </a:spcBef>
                <a:buFont typeface="Ericsson Hilda" panose="00000500000000000000" pitchFamily="2" charset="0"/>
                <a:buChar char="●"/>
              </a:pPr>
              <a:endParaRPr lang="en-US" sz="2400" err="1">
                <a:solidFill>
                  <a:srgbClr val="FFFFFF"/>
                </a:solidFill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E4910C8-86FE-39CD-8FB1-F8D40F44F84D}"/>
                </a:ext>
              </a:extLst>
            </p:cNvPr>
            <p:cNvGrpSpPr>
              <a:grpSpLocks noChangeAspect="1"/>
            </p:cNvGrpSpPr>
            <p:nvPr/>
          </p:nvGrpSpPr>
          <p:grpSpPr>
            <a:xfrm rot="6441090">
              <a:off x="5769828" y="3649795"/>
              <a:ext cx="502748" cy="502628"/>
              <a:chOff x="3510813" y="2637775"/>
              <a:chExt cx="2538066" cy="2537460"/>
            </a:xfrm>
            <a:solidFill>
              <a:schemeClr val="accent2">
                <a:lumMod val="40000"/>
                <a:lumOff val="60000"/>
                <a:alpha val="44000"/>
              </a:schemeClr>
            </a:solidFill>
          </p:grpSpPr>
          <p:sp>
            <p:nvSpPr>
              <p:cNvPr id="117" name="Partial Circle 116">
                <a:extLst>
                  <a:ext uri="{FF2B5EF4-FFF2-40B4-BE49-F238E27FC236}">
                    <a16:creationId xmlns:a16="http://schemas.microsoft.com/office/drawing/2014/main" id="{C4116A07-9CDF-2419-BEE1-AC4DC6CD0DD2}"/>
                  </a:ext>
                </a:extLst>
              </p:cNvPr>
              <p:cNvSpPr/>
              <p:nvPr/>
            </p:nvSpPr>
            <p:spPr bwMode="auto">
              <a:xfrm>
                <a:off x="3539375" y="2637775"/>
                <a:ext cx="2465594" cy="2537460"/>
              </a:xfrm>
              <a:prstGeom prst="pie">
                <a:avLst>
                  <a:gd name="adj1" fmla="val 21506223"/>
                  <a:gd name="adj2" fmla="val 4077882"/>
                </a:avLst>
              </a:prstGeom>
              <a:grpFill/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18" name="Partial Circle 117">
                <a:extLst>
                  <a:ext uri="{FF2B5EF4-FFF2-40B4-BE49-F238E27FC236}">
                    <a16:creationId xmlns:a16="http://schemas.microsoft.com/office/drawing/2014/main" id="{6706D81B-E29D-3EA3-D723-608BAC35815D}"/>
                  </a:ext>
                </a:extLst>
              </p:cNvPr>
              <p:cNvSpPr/>
              <p:nvPr/>
            </p:nvSpPr>
            <p:spPr bwMode="auto">
              <a:xfrm rot="6112790">
                <a:off x="3547352" y="2637774"/>
                <a:ext cx="2465594" cy="2537460"/>
              </a:xfrm>
              <a:prstGeom prst="pie">
                <a:avLst>
                  <a:gd name="adj1" fmla="val 21506223"/>
                  <a:gd name="adj2" fmla="val 4077882"/>
                </a:avLst>
              </a:prstGeom>
              <a:grpFill/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19" name="Partial Circle 118">
                <a:extLst>
                  <a:ext uri="{FF2B5EF4-FFF2-40B4-BE49-F238E27FC236}">
                    <a16:creationId xmlns:a16="http://schemas.microsoft.com/office/drawing/2014/main" id="{A9C9FAD8-757A-1293-1D7A-2E01A9E7A878}"/>
                  </a:ext>
                </a:extLst>
              </p:cNvPr>
              <p:cNvSpPr/>
              <p:nvPr/>
            </p:nvSpPr>
            <p:spPr bwMode="auto">
              <a:xfrm rot="14178660">
                <a:off x="3546746" y="2644411"/>
                <a:ext cx="2465594" cy="2537460"/>
              </a:xfrm>
              <a:prstGeom prst="pie">
                <a:avLst>
                  <a:gd name="adj1" fmla="val 21506223"/>
                  <a:gd name="adj2" fmla="val 4077882"/>
                </a:avLst>
              </a:prstGeom>
              <a:grpFill/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F936F122-C6E9-990C-286C-A5DEBCFA522B}"/>
                </a:ext>
              </a:extLst>
            </p:cNvPr>
            <p:cNvGrpSpPr>
              <a:grpSpLocks noChangeAspect="1"/>
            </p:cNvGrpSpPr>
            <p:nvPr/>
          </p:nvGrpSpPr>
          <p:grpSpPr>
            <a:xfrm rot="3291175">
              <a:off x="4381503" y="4535363"/>
              <a:ext cx="502748" cy="502628"/>
              <a:chOff x="3510813" y="2637775"/>
              <a:chExt cx="2538066" cy="2537460"/>
            </a:xfrm>
            <a:solidFill>
              <a:srgbClr val="85CCFF">
                <a:alpha val="44000"/>
              </a:srgbClr>
            </a:solidFill>
          </p:grpSpPr>
          <p:sp>
            <p:nvSpPr>
              <p:cNvPr id="114" name="Partial Circle 113">
                <a:extLst>
                  <a:ext uri="{FF2B5EF4-FFF2-40B4-BE49-F238E27FC236}">
                    <a16:creationId xmlns:a16="http://schemas.microsoft.com/office/drawing/2014/main" id="{B6749A8D-FFC0-9E8D-8984-0A90CB376585}"/>
                  </a:ext>
                </a:extLst>
              </p:cNvPr>
              <p:cNvSpPr/>
              <p:nvPr/>
            </p:nvSpPr>
            <p:spPr bwMode="auto">
              <a:xfrm>
                <a:off x="3539375" y="2637775"/>
                <a:ext cx="2465594" cy="2537460"/>
              </a:xfrm>
              <a:prstGeom prst="pie">
                <a:avLst>
                  <a:gd name="adj1" fmla="val 21506223"/>
                  <a:gd name="adj2" fmla="val 4077882"/>
                </a:avLst>
              </a:prstGeom>
              <a:grpFill/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15" name="Partial Circle 114">
                <a:extLst>
                  <a:ext uri="{FF2B5EF4-FFF2-40B4-BE49-F238E27FC236}">
                    <a16:creationId xmlns:a16="http://schemas.microsoft.com/office/drawing/2014/main" id="{F2713733-1818-59CE-D414-B3D29632B5A9}"/>
                  </a:ext>
                </a:extLst>
              </p:cNvPr>
              <p:cNvSpPr/>
              <p:nvPr/>
            </p:nvSpPr>
            <p:spPr bwMode="auto">
              <a:xfrm rot="6112790">
                <a:off x="3547352" y="2637774"/>
                <a:ext cx="2465594" cy="2537460"/>
              </a:xfrm>
              <a:prstGeom prst="pie">
                <a:avLst>
                  <a:gd name="adj1" fmla="val 21506223"/>
                  <a:gd name="adj2" fmla="val 4077882"/>
                </a:avLst>
              </a:prstGeom>
              <a:grpFill/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16" name="Partial Circle 115">
                <a:extLst>
                  <a:ext uri="{FF2B5EF4-FFF2-40B4-BE49-F238E27FC236}">
                    <a16:creationId xmlns:a16="http://schemas.microsoft.com/office/drawing/2014/main" id="{372D5840-F5DA-7B35-916A-952461186AA5}"/>
                  </a:ext>
                </a:extLst>
              </p:cNvPr>
              <p:cNvSpPr/>
              <p:nvPr/>
            </p:nvSpPr>
            <p:spPr bwMode="auto">
              <a:xfrm rot="14178660">
                <a:off x="3546746" y="2644411"/>
                <a:ext cx="2465594" cy="2537460"/>
              </a:xfrm>
              <a:prstGeom prst="pie">
                <a:avLst>
                  <a:gd name="adj1" fmla="val 21506223"/>
                  <a:gd name="adj2" fmla="val 4077882"/>
                </a:avLst>
              </a:prstGeom>
              <a:grpFill/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6" name="Isosceles Triangle 15">
              <a:extLst>
                <a:ext uri="{FF2B5EF4-FFF2-40B4-BE49-F238E27FC236}">
                  <a16:creationId xmlns:a16="http://schemas.microsoft.com/office/drawing/2014/main" id="{01369A47-9153-C325-7D93-19E32FE1C1A6}"/>
                </a:ext>
              </a:extLst>
            </p:cNvPr>
            <p:cNvSpPr/>
            <p:nvPr/>
          </p:nvSpPr>
          <p:spPr bwMode="auto">
            <a:xfrm rot="3279738">
              <a:off x="5222868" y="3703823"/>
              <a:ext cx="797870" cy="970954"/>
            </a:xfrm>
            <a:prstGeom prst="triangle">
              <a:avLst>
                <a:gd name="adj" fmla="val 49856"/>
              </a:avLst>
            </a:prstGeom>
            <a:solidFill>
              <a:schemeClr val="accent2">
                <a:lumMod val="40000"/>
                <a:lumOff val="60000"/>
                <a:alpha val="4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9994" indent="-239994">
                <a:spcBef>
                  <a:spcPts val="1067"/>
                </a:spcBef>
                <a:buFont typeface="Ericsson Hilda" panose="00000500000000000000" pitchFamily="2" charset="0"/>
                <a:buChar char="●"/>
              </a:pPr>
              <a:endParaRPr lang="en-US" sz="2400" err="1">
                <a:solidFill>
                  <a:srgbClr val="FFFFFF"/>
                </a:solidFill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C475E309-9592-C26C-9E6F-A729569AD4B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597656" y="3552061"/>
              <a:ext cx="2048356" cy="1433380"/>
              <a:chOff x="6949295" y="5226054"/>
              <a:chExt cx="1619661" cy="1219659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C614E945-6F09-D625-AB3D-17CC3337052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225417" y="5586633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3F95A5C9-F2B4-5C53-3252-1616B0D40F2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736383" y="5338861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38259C16-2C46-47DB-C21E-A6D381AD2A6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972506" y="548218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F2EE1C9B-4D26-4455-F100-067FD0A967C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603755" y="5752008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58D029F9-2424-EE11-5929-B44D366959C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298200" y="5844269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9D62BBBC-1E41-735A-02D8-97FDCFC9734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116534" y="5796108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393609B1-54B3-62BF-4C78-B768099F38C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488532" y="572647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1449AEC6-4DEB-E90C-1D73-7637447724C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379109" y="6043880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700A8245-98D7-94CD-0520-CEA1271FDFD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331364" y="561506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8B913D02-8485-AEBF-B607-5392DF0EBBB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351088" y="6002101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77E74788-8629-E80D-3A3C-22DCBD1169C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253772" y="5721834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D86B2F41-7467-97C4-8ECF-68B6972CC5E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966136" y="623362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A19F19DA-864A-35BD-82BC-AA3456E51AB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661614" y="5604331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F54F6788-2E00-538E-9068-2817D7F80CF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685153" y="5956261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200F2200-F29D-2451-1E66-ECD3B4D1495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442111" y="6069411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F50B4EF8-000C-50B3-263C-81D0D655954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825907" y="5675413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8ED8D375-4560-6687-9DC2-943E94A0C40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955232" y="6182562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A744EF19-3B70-EC71-0914-3E503DF4CFE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996424" y="6141364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045554F7-0B7A-0E64-7F4C-7D013EC0A97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017147" y="6217959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AD8FFA8C-2480-F686-E97D-FC7D7495762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911138" y="6228983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10AC0204-4A12-0227-BCBA-9AE80D23B11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776330" y="580662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0A327BF7-8330-0B75-B8F8-ACB5B1D9B4B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418567" y="5981792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C186301D-496B-016A-0967-2371F6A6C4B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935003" y="6125697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7FD3E66E-9BC3-4BDE-C9D5-9E179D04A1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159104" y="5786824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BE88E15D-98F9-4866-411C-7AAC4107339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557333" y="5854134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F9A0FA45-1B62-3EEE-114A-32EB38C7399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189940" y="5378319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76F10435-3D34-4777-C786-23C5F1B3FD3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149195" y="572647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6B1D110F-D307-2241-EDB2-73B2217E11F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171371" y="541545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BA91956B-6A28-1A81-C1CF-982F6F9FE4D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137218" y="5364392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101634AE-D709-11F5-6786-13CD88AEF12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124950" y="541545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EE182FE1-EA6A-6A57-5F3C-53B99FE82AF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197945" y="5784503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B3F31E95-11B8-9A22-D997-867228F8C7C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557333" y="5507718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B626D147-7A09-8850-6DA9-38BC66AC962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202206" y="5773188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50AAA8B2-A58A-3A23-DEB1-2A641B27F61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713173" y="552541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0DE02C6A-93AB-F3B1-A670-5BDA2D1D639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949295" y="5668741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2D8AEB2F-EA38-FE46-DE99-9FA89A6BA97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580544" y="5938563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7F060364-71AC-1CC3-F227-BC14F12EBCF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274990" y="6030825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7602F786-5D18-E1EC-02E6-77A430F254A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093323" y="5982663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960079F2-C2F7-FE31-14D9-87C03F8C9CE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465322" y="5913032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33BCC4AD-8FAC-BD9D-6A8C-458D5708ECC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355899" y="6230435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E946B87E-E11A-C91F-8397-970A55B2B75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308153" y="5801621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1124E30B-82FE-320E-709E-169DACE49AC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327878" y="618865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3964C56D-AFC6-D400-E3E4-0053D7E1C44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230562" y="5908390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952257D5-6F41-DF48-05E3-8E2EAA612DC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942925" y="6420181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3847CB9E-AA65-7498-12F3-BFEEC8D1DB4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638404" y="5790887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BEF75B9C-56B1-DDE8-4914-0459DA73273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661942" y="614281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B0642BF3-98FF-3766-FABF-600B361F238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418901" y="6255967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F602F6EC-5AC1-B38F-4506-CB7FE958117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802697" y="5861969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4022DA21-FE96-209D-5288-E660CDD3A47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851741" y="6318055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F54E26BC-6068-6B64-1EBB-AA366289A83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748658" y="6304564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DDF74B78-EA24-8274-6EBF-7B680B1097C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993937" y="6404514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6E1C99A7-52C8-48EB-8308-53790DF1DDB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887928" y="6415539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F60BAF37-3E0A-4A38-C7A5-36BB4EBC036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738037" y="6024442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D51F8BCF-8E34-FB96-3351-31AC69B5C55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395356" y="6168347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5AF6295F-2D34-5C78-0661-9923146618B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762252" y="6246538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2183479D-331F-711B-AADA-6ECBE49C322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135893" y="5973379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AC2ECA41-050A-73BC-B87E-A2795D24C63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534123" y="6040690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61A2408E-E0F3-C9D7-C1A3-EC96D32EA1E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166729" y="5564874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29251614-4B21-7A38-0A70-A9CA4C54748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024849" y="5895333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F989F33B-489B-B580-F667-2866DE463CF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148161" y="5602011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2A732CCA-881A-799C-71F7-3C639EF0EF3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124950" y="552541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1108BA80-BC1C-7E2A-8230-8244E34FFE2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101740" y="5602011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7EA95CF4-99CA-6134-4CEE-252C2D3B00B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174735" y="5971058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79AA9066-BA57-F637-D929-FAA2B28742E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534123" y="5694273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A41B1D6D-4AA8-6A1F-BFA6-A635FB13EA2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7649416" y="5226054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43629301-B36F-99AB-FA88-FF3FEE209F2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7820974" y="5624613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FD01079C-976A-9E00-2F54-741391370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236445" y="5320851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A2BC38B8-3C7B-097B-EAD4-0AACF51928D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410626" y="574945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EAEE3934-E13F-27B3-3141-E8395F6364A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7767530" y="5475281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94665CA7-E777-88BE-20CE-0D72C98B571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016560" y="5725065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51A0617B-EDC5-1965-35CD-7DE438580E1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7938075" y="5420883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Oval 88">
                <a:extLst>
                  <a:ext uri="{FF2B5EF4-FFF2-40B4-BE49-F238E27FC236}">
                    <a16:creationId xmlns:a16="http://schemas.microsoft.com/office/drawing/2014/main" id="{AAEAD85C-B429-C458-110C-54311457858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368849" y="5718135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FCDBDAD3-D9AC-6B3A-4C13-2070DA1C9F2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372820" y="5660011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6C37FBD0-5446-BC23-9F4C-9648E38DEAB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438778" y="5704123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0703EA18-DF02-02CE-629A-B2EE37131AF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366123" y="5782102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11B982D3-98D1-F4FE-F289-104ABB0547E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7986942" y="5552362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1F565022-2203-D03E-9D8F-FE3226932E8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316229" y="5688570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D74B74C4-CE95-C04A-24FC-CCE6D7691E6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7853103" y="5732095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634324B8-8FD7-E053-47AB-37D5D047FD7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215301" y="5246904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959322D0-12C2-5C49-F4BF-94CCE15825A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290179" y="5258601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8EFB2EFA-B118-B7E5-A5A0-F7B639C8539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7625438" y="547099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A482E642-0839-3291-C00C-BBAA62A360E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7754527" y="5381917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063A1B87-BC31-F4CF-A331-E351556E9FE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7926084" y="578047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F66064D9-C4C1-053F-3E0D-AD49C40CF69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341555" y="5476715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Oval 101">
                <a:extLst>
                  <a:ext uri="{FF2B5EF4-FFF2-40B4-BE49-F238E27FC236}">
                    <a16:creationId xmlns:a16="http://schemas.microsoft.com/office/drawing/2014/main" id="{D56078FB-1C6C-F0B0-79F2-FB0AF2D68F8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515737" y="5905320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id="{34044D9B-2E31-F09F-296B-EE40AD54762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7872640" y="5631145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57C292B5-9DCF-5040-07D4-4E2F4E086C8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121671" y="5880929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8F5007F7-54B0-019F-AA80-3D7541AFC22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043185" y="557674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AD717ECF-3C45-164C-AA9D-E6AE0825525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379892" y="5888272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A0E3A8AE-91A6-4A45-F2BE-ABA55A011C8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293331" y="5945850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084F80B5-5CD2-2432-76F1-AF78A15D3E0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543888" y="5859986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22CFFDC7-13B7-8F68-8534-E39C1D343C4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471233" y="5937965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33E3495B-20DB-3E5C-0C04-FC3DB6E03BA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101229" y="5741699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F874D005-48D7-92BB-CAC8-0D655A6ED3D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265441" y="5893181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BDBE69D8-019B-A2C4-519E-147B8E353B2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232552" y="5455894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94DD5649-E3CB-B2AD-B00A-9CE1087F242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9134785">
                <a:off x="8395290" y="5414464"/>
                <a:ext cx="25068" cy="25532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</p:grpSp>
      </p:grpSp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51E8E808-C42D-E04C-D066-A1A33BC9039A}"/>
              </a:ext>
            </a:extLst>
          </p:cNvPr>
          <p:cNvCxnSpPr>
            <a:cxnSpLocks/>
          </p:cNvCxnSpPr>
          <p:nvPr/>
        </p:nvCxnSpPr>
        <p:spPr bwMode="auto">
          <a:xfrm>
            <a:off x="7924219" y="4094684"/>
            <a:ext cx="467119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23" name="Freeform: Shape 122">
            <a:extLst>
              <a:ext uri="{FF2B5EF4-FFF2-40B4-BE49-F238E27FC236}">
                <a16:creationId xmlns:a16="http://schemas.microsoft.com/office/drawing/2014/main" id="{6379229C-B2F6-396D-73BA-DEB3A748427E}"/>
              </a:ext>
            </a:extLst>
          </p:cNvPr>
          <p:cNvSpPr/>
          <p:nvPr/>
        </p:nvSpPr>
        <p:spPr bwMode="auto">
          <a:xfrm>
            <a:off x="5263603" y="1875744"/>
            <a:ext cx="914400" cy="3108960"/>
          </a:xfrm>
          <a:custGeom>
            <a:avLst/>
            <a:gdLst>
              <a:gd name="connsiteX0" fmla="*/ 0 w 685800"/>
              <a:gd name="connsiteY0" fmla="*/ 510540 h 2331720"/>
              <a:gd name="connsiteX1" fmla="*/ 685800 w 685800"/>
              <a:gd name="connsiteY1" fmla="*/ 0 h 2331720"/>
              <a:gd name="connsiteX2" fmla="*/ 678180 w 685800"/>
              <a:gd name="connsiteY2" fmla="*/ 2331720 h 2331720"/>
              <a:gd name="connsiteX3" fmla="*/ 7620 w 685800"/>
              <a:gd name="connsiteY3" fmla="*/ 944880 h 2331720"/>
              <a:gd name="connsiteX4" fmla="*/ 0 w 685800"/>
              <a:gd name="connsiteY4" fmla="*/ 510540 h 233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800" h="2331720">
                <a:moveTo>
                  <a:pt x="0" y="510540"/>
                </a:moveTo>
                <a:lnTo>
                  <a:pt x="685800" y="0"/>
                </a:lnTo>
                <a:lnTo>
                  <a:pt x="678180" y="2331720"/>
                </a:lnTo>
                <a:lnTo>
                  <a:pt x="7620" y="944880"/>
                </a:lnTo>
                <a:lnTo>
                  <a:pt x="0" y="5105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9994" indent="-239994">
              <a:spcBef>
                <a:spcPts val="1067"/>
              </a:spcBef>
              <a:buFont typeface="Ericsson Hilda" panose="00000500000000000000" pitchFamily="2" charset="0"/>
              <a:buChar char="●"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24" name="Rectangle: Rounded Corners 123">
            <a:extLst>
              <a:ext uri="{FF2B5EF4-FFF2-40B4-BE49-F238E27FC236}">
                <a16:creationId xmlns:a16="http://schemas.microsoft.com/office/drawing/2014/main" id="{9B41642D-A5B6-D868-6285-83122F033545}"/>
              </a:ext>
            </a:extLst>
          </p:cNvPr>
          <p:cNvSpPr/>
          <p:nvPr/>
        </p:nvSpPr>
        <p:spPr bwMode="auto">
          <a:xfrm>
            <a:off x="6178002" y="1585730"/>
            <a:ext cx="4194428" cy="3755655"/>
          </a:xfrm>
          <a:prstGeom prst="roundRect">
            <a:avLst>
              <a:gd name="adj" fmla="val 10080"/>
            </a:avLst>
          </a:prstGeom>
          <a:noFill/>
          <a:ln w="12700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9994" indent="-239994">
              <a:spcBef>
                <a:spcPts val="1067"/>
              </a:spcBef>
              <a:buFont typeface="Ericsson Hilda" panose="00000500000000000000" pitchFamily="2" charset="0"/>
              <a:buChar char="●"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7C402E41-C9B9-66EC-0E56-F978B83B7C6A}"/>
              </a:ext>
            </a:extLst>
          </p:cNvPr>
          <p:cNvSpPr txBox="1"/>
          <p:nvPr/>
        </p:nvSpPr>
        <p:spPr>
          <a:xfrm>
            <a:off x="8569919" y="3049160"/>
            <a:ext cx="1350992" cy="211901"/>
          </a:xfrm>
          <a:prstGeom prst="rect">
            <a:avLst/>
          </a:prstGeom>
        </p:spPr>
        <p:txBody>
          <a:bodyPr vert="horz" wrap="square" lIns="96000" tIns="48000" rIns="96000" bIns="48000" rtlCol="0" anchor="t">
            <a:noAutofit/>
          </a:bodyPr>
          <a:lstStyle/>
          <a:p>
            <a:pPr defTabSz="1219170" fontAlgn="base">
              <a:spcBef>
                <a:spcPts val="533"/>
              </a:spcBef>
              <a:spcAft>
                <a:spcPct val="0"/>
              </a:spcAft>
            </a:pPr>
            <a:r>
              <a:rPr lang="en-US" sz="933" kern="1000" spc="-40">
                <a:latin typeface="Ericsson Hilda"/>
              </a:rPr>
              <a:t>Performance metrics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694CDC09-FAB9-912D-EC75-452FE2D9397D}"/>
              </a:ext>
            </a:extLst>
          </p:cNvPr>
          <p:cNvSpPr txBox="1"/>
          <p:nvPr/>
        </p:nvSpPr>
        <p:spPr>
          <a:xfrm>
            <a:off x="8623444" y="4334107"/>
            <a:ext cx="1011851" cy="213592"/>
          </a:xfrm>
          <a:prstGeom prst="rect">
            <a:avLst/>
          </a:prstGeom>
        </p:spPr>
        <p:txBody>
          <a:bodyPr vert="horz" wrap="square" lIns="96000" tIns="48000" rIns="96000" bIns="48000" rtlCol="0" anchor="t">
            <a:noAutofit/>
          </a:bodyPr>
          <a:lstStyle/>
          <a:p>
            <a:pPr defTabSz="1219170" fontAlgn="base">
              <a:spcBef>
                <a:spcPts val="533"/>
              </a:spcBef>
              <a:spcAft>
                <a:spcPct val="0"/>
              </a:spcAft>
            </a:pPr>
            <a:r>
              <a:rPr lang="en-US" sz="933" kern="1000" spc="-40">
                <a:latin typeface="Ericsson Hilda"/>
              </a:rPr>
              <a:t>Configuration</a:t>
            </a:r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2DED6D55-0A0B-B8F7-F920-8B163947B382}"/>
              </a:ext>
            </a:extLst>
          </p:cNvPr>
          <p:cNvGrpSpPr/>
          <p:nvPr/>
        </p:nvGrpSpPr>
        <p:grpSpPr>
          <a:xfrm>
            <a:off x="6349266" y="3513620"/>
            <a:ext cx="1481685" cy="1703837"/>
            <a:chOff x="3916478" y="3584890"/>
            <a:chExt cx="1111264" cy="1277878"/>
          </a:xfrm>
        </p:grpSpPr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F13E6FA4-8BB2-181E-4445-43D66D9A623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924722" y="3606956"/>
              <a:ext cx="1100437" cy="1242740"/>
              <a:chOff x="4331507" y="3566162"/>
              <a:chExt cx="1335304" cy="1507980"/>
            </a:xfrm>
          </p:grpSpPr>
          <p:sp>
            <p:nvSpPr>
              <p:cNvPr id="135" name="Oval 134">
                <a:extLst>
                  <a:ext uri="{FF2B5EF4-FFF2-40B4-BE49-F238E27FC236}">
                    <a16:creationId xmlns:a16="http://schemas.microsoft.com/office/drawing/2014/main" id="{45162214-2961-E39A-3F94-D890F5B6FDA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148967" y="3566162"/>
                <a:ext cx="182880" cy="182880"/>
              </a:xfrm>
              <a:prstGeom prst="ellipse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36" name="Oval 135">
                <a:extLst>
                  <a:ext uri="{FF2B5EF4-FFF2-40B4-BE49-F238E27FC236}">
                    <a16:creationId xmlns:a16="http://schemas.microsoft.com/office/drawing/2014/main" id="{EF971A50-0CE4-8239-2671-DAD8D4E8B5C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483931" y="3945141"/>
                <a:ext cx="182880" cy="182880"/>
              </a:xfrm>
              <a:prstGeom prst="ellipse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37" name="Oval 136">
                <a:extLst>
                  <a:ext uri="{FF2B5EF4-FFF2-40B4-BE49-F238E27FC236}">
                    <a16:creationId xmlns:a16="http://schemas.microsoft.com/office/drawing/2014/main" id="{0FA1BF3D-70E8-E2DA-5B48-C445FA914F9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663278" y="3808584"/>
                <a:ext cx="182880" cy="182880"/>
              </a:xfrm>
              <a:prstGeom prst="ellipse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38" name="Oval 137">
                <a:extLst>
                  <a:ext uri="{FF2B5EF4-FFF2-40B4-BE49-F238E27FC236}">
                    <a16:creationId xmlns:a16="http://schemas.microsoft.com/office/drawing/2014/main" id="{8E8F08CD-C63C-36CB-F8A7-EFF9A42E1E4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246052" y="4518606"/>
                <a:ext cx="182880" cy="182880"/>
              </a:xfrm>
              <a:prstGeom prst="ellipse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48FAD22D-67B5-BF84-5121-76A8865737FB}"/>
                  </a:ext>
                </a:extLst>
              </p:cNvPr>
              <p:cNvCxnSpPr>
                <a:cxnSpLocks/>
                <a:stCxn id="137" idx="5"/>
                <a:endCxn id="138" idx="1"/>
              </p:cNvCxnSpPr>
              <p:nvPr/>
            </p:nvCxnSpPr>
            <p:spPr bwMode="auto">
              <a:xfrm>
                <a:off x="4819376" y="3964682"/>
                <a:ext cx="453458" cy="580706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/>
              </a:ln>
              <a:effectLst/>
            </p:spPr>
          </p:cxnSp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E1FF7B02-BD3F-7576-E089-3010FC199688}"/>
                  </a:ext>
                </a:extLst>
              </p:cNvPr>
              <p:cNvCxnSpPr>
                <a:cxnSpLocks/>
                <a:stCxn id="137" idx="5"/>
                <a:endCxn id="152" idx="1"/>
              </p:cNvCxnSpPr>
              <p:nvPr/>
            </p:nvCxnSpPr>
            <p:spPr bwMode="auto">
              <a:xfrm>
                <a:off x="4819376" y="3964682"/>
                <a:ext cx="501816" cy="314304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/>
              </a:ln>
              <a:effectLst/>
            </p:spPr>
          </p:cxnSp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id="{3C4C23C6-9E11-4F27-D180-83228783E420}"/>
                  </a:ext>
                </a:extLst>
              </p:cNvPr>
              <p:cNvCxnSpPr>
                <a:cxnSpLocks/>
                <a:stCxn id="137" idx="5"/>
                <a:endCxn id="136" idx="2"/>
              </p:cNvCxnSpPr>
              <p:nvPr/>
            </p:nvCxnSpPr>
            <p:spPr bwMode="auto">
              <a:xfrm>
                <a:off x="4819376" y="3964682"/>
                <a:ext cx="664555" cy="71899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/>
              </a:ln>
              <a:effectLst/>
            </p:spPr>
          </p:cxnSp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id="{52D9D382-4F00-5418-C123-4A086F10B518}"/>
                  </a:ext>
                </a:extLst>
              </p:cNvPr>
              <p:cNvCxnSpPr>
                <a:cxnSpLocks/>
                <a:stCxn id="137" idx="7"/>
                <a:endCxn id="135" idx="3"/>
              </p:cNvCxnSpPr>
              <p:nvPr/>
            </p:nvCxnSpPr>
            <p:spPr bwMode="auto">
              <a:xfrm flipV="1">
                <a:off x="4819376" y="3722260"/>
                <a:ext cx="356373" cy="113106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/>
              </a:ln>
              <a:effectLst/>
            </p:spPr>
          </p:cxnSp>
          <p:cxnSp>
            <p:nvCxnSpPr>
              <p:cNvPr id="143" name="Straight Connector 142">
                <a:extLst>
                  <a:ext uri="{FF2B5EF4-FFF2-40B4-BE49-F238E27FC236}">
                    <a16:creationId xmlns:a16="http://schemas.microsoft.com/office/drawing/2014/main" id="{12FE7F55-3524-533E-2B23-997ECED0123D}"/>
                  </a:ext>
                </a:extLst>
              </p:cNvPr>
              <p:cNvCxnSpPr>
                <a:stCxn id="135" idx="5"/>
                <a:endCxn id="136" idx="1"/>
              </p:cNvCxnSpPr>
              <p:nvPr/>
            </p:nvCxnSpPr>
            <p:spPr bwMode="auto">
              <a:xfrm>
                <a:off x="5305065" y="3722260"/>
                <a:ext cx="205648" cy="249663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/>
              </a:ln>
              <a:effectLst/>
            </p:spPr>
          </p:cxnSp>
          <p:cxnSp>
            <p:nvCxnSpPr>
              <p:cNvPr id="144" name="Straight Connector 143">
                <a:extLst>
                  <a:ext uri="{FF2B5EF4-FFF2-40B4-BE49-F238E27FC236}">
                    <a16:creationId xmlns:a16="http://schemas.microsoft.com/office/drawing/2014/main" id="{A9720703-4E99-B37D-E0A2-0D2792F91ADD}"/>
                  </a:ext>
                </a:extLst>
              </p:cNvPr>
              <p:cNvCxnSpPr>
                <a:stCxn id="135" idx="4"/>
                <a:endCxn id="152" idx="0"/>
              </p:cNvCxnSpPr>
              <p:nvPr/>
            </p:nvCxnSpPr>
            <p:spPr bwMode="auto">
              <a:xfrm>
                <a:off x="5240407" y="3749042"/>
                <a:ext cx="145443" cy="503162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/>
              </a:ln>
              <a:effectLst/>
            </p:spPr>
          </p:cxnSp>
          <p:cxnSp>
            <p:nvCxnSpPr>
              <p:cNvPr id="145" name="Straight Connector 144">
                <a:extLst>
                  <a:ext uri="{FF2B5EF4-FFF2-40B4-BE49-F238E27FC236}">
                    <a16:creationId xmlns:a16="http://schemas.microsoft.com/office/drawing/2014/main" id="{49B94CC4-DA85-2142-F00B-C7138A717ABA}"/>
                  </a:ext>
                </a:extLst>
              </p:cNvPr>
              <p:cNvCxnSpPr>
                <a:cxnSpLocks/>
                <a:stCxn id="135" idx="4"/>
                <a:endCxn id="138" idx="1"/>
              </p:cNvCxnSpPr>
              <p:nvPr/>
            </p:nvCxnSpPr>
            <p:spPr bwMode="auto">
              <a:xfrm>
                <a:off x="5240407" y="3749042"/>
                <a:ext cx="32427" cy="796346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/>
              </a:ln>
              <a:effectLst/>
            </p:spPr>
          </p:cxnSp>
          <p:cxnSp>
            <p:nvCxnSpPr>
              <p:cNvPr id="146" name="Straight Connector 145">
                <a:extLst>
                  <a:ext uri="{FF2B5EF4-FFF2-40B4-BE49-F238E27FC236}">
                    <a16:creationId xmlns:a16="http://schemas.microsoft.com/office/drawing/2014/main" id="{C4E1E15B-4092-1F65-0EED-D273761CB9A9}"/>
                  </a:ext>
                </a:extLst>
              </p:cNvPr>
              <p:cNvCxnSpPr>
                <a:cxnSpLocks/>
                <a:stCxn id="136" idx="3"/>
                <a:endCxn id="152" idx="0"/>
              </p:cNvCxnSpPr>
              <p:nvPr/>
            </p:nvCxnSpPr>
            <p:spPr bwMode="auto">
              <a:xfrm flipH="1">
                <a:off x="5385850" y="4101239"/>
                <a:ext cx="124863" cy="150965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/>
              </a:ln>
              <a:effectLst/>
            </p:spPr>
          </p:cxnSp>
          <p:cxnSp>
            <p:nvCxnSpPr>
              <p:cNvPr id="147" name="Straight Connector 146">
                <a:extLst>
                  <a:ext uri="{FF2B5EF4-FFF2-40B4-BE49-F238E27FC236}">
                    <a16:creationId xmlns:a16="http://schemas.microsoft.com/office/drawing/2014/main" id="{EA5BFC38-6238-E2A3-4893-67E123303488}"/>
                  </a:ext>
                </a:extLst>
              </p:cNvPr>
              <p:cNvCxnSpPr>
                <a:cxnSpLocks/>
                <a:stCxn id="136" idx="3"/>
                <a:endCxn id="138" idx="7"/>
              </p:cNvCxnSpPr>
              <p:nvPr/>
            </p:nvCxnSpPr>
            <p:spPr bwMode="auto">
              <a:xfrm flipH="1">
                <a:off x="5402150" y="4101239"/>
                <a:ext cx="108563" cy="444149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/>
              </a:ln>
              <a:effectLst/>
            </p:spPr>
          </p:cxnSp>
          <p:sp>
            <p:nvSpPr>
              <p:cNvPr id="148" name="Oval 147">
                <a:extLst>
                  <a:ext uri="{FF2B5EF4-FFF2-40B4-BE49-F238E27FC236}">
                    <a16:creationId xmlns:a16="http://schemas.microsoft.com/office/drawing/2014/main" id="{761513F2-9F37-52FB-E48B-B027A4BC4C9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331507" y="4891262"/>
                <a:ext cx="182880" cy="182880"/>
              </a:xfrm>
              <a:prstGeom prst="ellipse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149" name="Straight Connector 148">
                <a:extLst>
                  <a:ext uri="{FF2B5EF4-FFF2-40B4-BE49-F238E27FC236}">
                    <a16:creationId xmlns:a16="http://schemas.microsoft.com/office/drawing/2014/main" id="{DDFCEB27-6C1E-6EAB-D69A-01650D0A5C14}"/>
                  </a:ext>
                </a:extLst>
              </p:cNvPr>
              <p:cNvCxnSpPr>
                <a:stCxn id="148" idx="0"/>
                <a:endCxn id="137" idx="4"/>
              </p:cNvCxnSpPr>
              <p:nvPr/>
            </p:nvCxnSpPr>
            <p:spPr bwMode="auto">
              <a:xfrm flipV="1">
                <a:off x="4422947" y="3991464"/>
                <a:ext cx="331771" cy="899798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/>
              </a:ln>
              <a:effectLst/>
            </p:spPr>
          </p:cxnSp>
          <p:cxnSp>
            <p:nvCxnSpPr>
              <p:cNvPr id="150" name="Straight Connector 149">
                <a:extLst>
                  <a:ext uri="{FF2B5EF4-FFF2-40B4-BE49-F238E27FC236}">
                    <a16:creationId xmlns:a16="http://schemas.microsoft.com/office/drawing/2014/main" id="{3AB386E8-B2ED-42BE-9183-474A6B684639}"/>
                  </a:ext>
                </a:extLst>
              </p:cNvPr>
              <p:cNvCxnSpPr>
                <a:stCxn id="148" idx="7"/>
                <a:endCxn id="152" idx="3"/>
              </p:cNvCxnSpPr>
              <p:nvPr/>
            </p:nvCxnSpPr>
            <p:spPr bwMode="auto">
              <a:xfrm flipV="1">
                <a:off x="4487605" y="4408302"/>
                <a:ext cx="833587" cy="509742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/>
              </a:ln>
              <a:effectLst/>
            </p:spPr>
          </p:cxnSp>
          <p:cxnSp>
            <p:nvCxnSpPr>
              <p:cNvPr id="151" name="Straight Connector 150">
                <a:extLst>
                  <a:ext uri="{FF2B5EF4-FFF2-40B4-BE49-F238E27FC236}">
                    <a16:creationId xmlns:a16="http://schemas.microsoft.com/office/drawing/2014/main" id="{52B0103F-3C45-7724-266E-A78761933F48}"/>
                  </a:ext>
                </a:extLst>
              </p:cNvPr>
              <p:cNvCxnSpPr>
                <a:stCxn id="148" idx="7"/>
                <a:endCxn id="138" idx="2"/>
              </p:cNvCxnSpPr>
              <p:nvPr/>
            </p:nvCxnSpPr>
            <p:spPr bwMode="auto">
              <a:xfrm flipV="1">
                <a:off x="4487605" y="4610046"/>
                <a:ext cx="758447" cy="307998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/>
              </a:ln>
              <a:effectLst/>
            </p:spPr>
          </p:cxnSp>
          <p:sp>
            <p:nvSpPr>
              <p:cNvPr id="152" name="Oval 151">
                <a:extLst>
                  <a:ext uri="{FF2B5EF4-FFF2-40B4-BE49-F238E27FC236}">
                    <a16:creationId xmlns:a16="http://schemas.microsoft.com/office/drawing/2014/main" id="{405088D4-976E-7E58-6444-331CF1CA7FE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294410" y="4252204"/>
                <a:ext cx="182880" cy="182880"/>
              </a:xfrm>
              <a:prstGeom prst="ellipse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994" indent="-239994">
                  <a:spcBef>
                    <a:spcPts val="1067"/>
                  </a:spcBef>
                  <a:buFont typeface="Ericsson Hilda" panose="00000500000000000000" pitchFamily="2" charset="0"/>
                  <a:buChar char="●"/>
                </a:pPr>
                <a:endParaRPr lang="en-US" sz="2400" err="1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7425894B-88F4-039E-3442-87E5D6FC236D}"/>
                </a:ext>
              </a:extLst>
            </p:cNvPr>
            <p:cNvSpPr txBox="1"/>
            <p:nvPr/>
          </p:nvSpPr>
          <p:spPr>
            <a:xfrm>
              <a:off x="4196417" y="3782346"/>
              <a:ext cx="157125" cy="186586"/>
            </a:xfrm>
            <a:prstGeom prst="rect">
              <a:avLst/>
            </a:prstGeom>
          </p:spPr>
          <p:txBody>
            <a:bodyPr vert="horz" wrap="square" lIns="96000" tIns="48000" rIns="96000" bIns="48000" rtlCol="0" anchor="t">
              <a:noAutofit/>
            </a:bodyPr>
            <a:lstStyle/>
            <a:p>
              <a:pPr algn="ctr" defTabSz="1219170" fontAlgn="base">
                <a:spcBef>
                  <a:spcPts val="1067"/>
                </a:spcBef>
                <a:spcAft>
                  <a:spcPct val="0"/>
                </a:spcAft>
              </a:pPr>
              <a:r>
                <a:rPr lang="en-US" sz="1067" b="1" kern="1000" spc="-40">
                  <a:latin typeface="Ericsson Hilda"/>
                </a:rPr>
                <a:t>A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538ABDBB-19AE-A4A5-4210-5036142D105B}"/>
                </a:ext>
              </a:extLst>
            </p:cNvPr>
            <p:cNvSpPr txBox="1"/>
            <p:nvPr/>
          </p:nvSpPr>
          <p:spPr>
            <a:xfrm>
              <a:off x="3916478" y="4676182"/>
              <a:ext cx="157125" cy="186586"/>
            </a:xfrm>
            <a:prstGeom prst="rect">
              <a:avLst/>
            </a:prstGeom>
          </p:spPr>
          <p:txBody>
            <a:bodyPr vert="horz" wrap="square" lIns="96000" tIns="48000" rIns="96000" bIns="48000" rtlCol="0" anchor="t">
              <a:noAutofit/>
            </a:bodyPr>
            <a:lstStyle/>
            <a:p>
              <a:pPr algn="ctr" defTabSz="1219170" fontAlgn="base">
                <a:spcBef>
                  <a:spcPts val="1067"/>
                </a:spcBef>
                <a:spcAft>
                  <a:spcPct val="0"/>
                </a:spcAft>
              </a:pPr>
              <a:r>
                <a:rPr lang="en-US" sz="1067" b="1" kern="1000" spc="-40">
                  <a:latin typeface="Ericsson Hilda"/>
                </a:rPr>
                <a:t>B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813D8123-BA77-BDEB-CD23-61D4216100A8}"/>
                </a:ext>
              </a:extLst>
            </p:cNvPr>
            <p:cNvSpPr txBox="1"/>
            <p:nvPr/>
          </p:nvSpPr>
          <p:spPr>
            <a:xfrm>
              <a:off x="4595114" y="3584890"/>
              <a:ext cx="157125" cy="186586"/>
            </a:xfrm>
            <a:prstGeom prst="rect">
              <a:avLst/>
            </a:prstGeom>
          </p:spPr>
          <p:txBody>
            <a:bodyPr vert="horz" wrap="square" lIns="96000" tIns="48000" rIns="96000" bIns="48000" rtlCol="0" anchor="t">
              <a:noAutofit/>
            </a:bodyPr>
            <a:lstStyle/>
            <a:p>
              <a:pPr algn="ctr" defTabSz="1219170" fontAlgn="base">
                <a:spcBef>
                  <a:spcPts val="1067"/>
                </a:spcBef>
                <a:spcAft>
                  <a:spcPct val="0"/>
                </a:spcAft>
              </a:pPr>
              <a:r>
                <a:rPr lang="en-US" sz="1067" b="1" kern="1000" spc="-40">
                  <a:latin typeface="Ericsson Hilda"/>
                </a:rPr>
                <a:t>C</a:t>
              </a: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54AEF570-2162-0D67-662B-8440758B1472}"/>
                </a:ext>
              </a:extLst>
            </p:cNvPr>
            <p:cNvSpPr txBox="1"/>
            <p:nvPr/>
          </p:nvSpPr>
          <p:spPr>
            <a:xfrm>
              <a:off x="4870617" y="3896676"/>
              <a:ext cx="157125" cy="186586"/>
            </a:xfrm>
            <a:prstGeom prst="rect">
              <a:avLst/>
            </a:prstGeom>
          </p:spPr>
          <p:txBody>
            <a:bodyPr vert="horz" wrap="square" lIns="96000" tIns="48000" rIns="96000" bIns="48000" rtlCol="0" anchor="t">
              <a:noAutofit/>
            </a:bodyPr>
            <a:lstStyle/>
            <a:p>
              <a:pPr algn="ctr" defTabSz="1219170" fontAlgn="base">
                <a:spcBef>
                  <a:spcPts val="1067"/>
                </a:spcBef>
                <a:spcAft>
                  <a:spcPct val="0"/>
                </a:spcAft>
              </a:pPr>
              <a:r>
                <a:rPr lang="en-US" sz="1067" b="1" kern="1000" spc="-40">
                  <a:latin typeface="Ericsson Hilda"/>
                </a:rPr>
                <a:t>D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F6D58198-39CC-B4B2-B729-1CA0466E8D36}"/>
                </a:ext>
              </a:extLst>
            </p:cNvPr>
            <p:cNvSpPr txBox="1"/>
            <p:nvPr/>
          </p:nvSpPr>
          <p:spPr>
            <a:xfrm>
              <a:off x="4713435" y="4147874"/>
              <a:ext cx="157125" cy="186586"/>
            </a:xfrm>
            <a:prstGeom prst="rect">
              <a:avLst/>
            </a:prstGeom>
          </p:spPr>
          <p:txBody>
            <a:bodyPr vert="horz" wrap="square" lIns="96000" tIns="48000" rIns="96000" bIns="48000" rtlCol="0" anchor="t">
              <a:noAutofit/>
            </a:bodyPr>
            <a:lstStyle/>
            <a:p>
              <a:pPr algn="ctr" defTabSz="1219170" fontAlgn="base">
                <a:spcBef>
                  <a:spcPts val="1067"/>
                </a:spcBef>
                <a:spcAft>
                  <a:spcPct val="0"/>
                </a:spcAft>
              </a:pPr>
              <a:r>
                <a:rPr lang="en-US" sz="1067" b="1" kern="1000" spc="-40">
                  <a:latin typeface="Ericsson Hilda"/>
                </a:rPr>
                <a:t>E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42F664D3-2FE3-0883-D242-21FE86913545}"/>
                </a:ext>
              </a:extLst>
            </p:cNvPr>
            <p:cNvSpPr txBox="1"/>
            <p:nvPr/>
          </p:nvSpPr>
          <p:spPr>
            <a:xfrm>
              <a:off x="4677297" y="4372117"/>
              <a:ext cx="157125" cy="186586"/>
            </a:xfrm>
            <a:prstGeom prst="rect">
              <a:avLst/>
            </a:prstGeom>
          </p:spPr>
          <p:txBody>
            <a:bodyPr vert="horz" wrap="square" lIns="96000" tIns="48000" rIns="96000" bIns="48000" rtlCol="0" anchor="t">
              <a:noAutofit/>
            </a:bodyPr>
            <a:lstStyle/>
            <a:p>
              <a:pPr algn="ctr" defTabSz="1219170" fontAlgn="base">
                <a:spcBef>
                  <a:spcPts val="1067"/>
                </a:spcBef>
                <a:spcAft>
                  <a:spcPct val="0"/>
                </a:spcAft>
              </a:pPr>
              <a:r>
                <a:rPr lang="en-US" sz="1067" b="1" kern="1000" spc="-40">
                  <a:latin typeface="Ericsson Hilda"/>
                </a:rPr>
                <a:t>F</a:t>
              </a:r>
            </a:p>
          </p:txBody>
        </p:sp>
      </p:grpSp>
      <p:sp>
        <p:nvSpPr>
          <p:cNvPr id="153" name="Rectangle 152">
            <a:extLst>
              <a:ext uri="{FF2B5EF4-FFF2-40B4-BE49-F238E27FC236}">
                <a16:creationId xmlns:a16="http://schemas.microsoft.com/office/drawing/2014/main" id="{9C919735-2DB8-E429-B310-8980D8E66936}"/>
              </a:ext>
            </a:extLst>
          </p:cNvPr>
          <p:cNvSpPr/>
          <p:nvPr/>
        </p:nvSpPr>
        <p:spPr>
          <a:xfrm>
            <a:off x="1524337" y="789693"/>
            <a:ext cx="4915447" cy="748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67" b="1" dirty="0">
                <a:solidFill>
                  <a:srgbClr val="181818"/>
                </a:solidFill>
              </a:rPr>
              <a:t>Digital Twin</a:t>
            </a:r>
          </a:p>
          <a:p>
            <a:pPr algn="ctr"/>
            <a:r>
              <a:rPr lang="en-US" sz="1400" kern="1000" spc="-40" dirty="0">
                <a:solidFill>
                  <a:srgbClr val="181818"/>
                </a:solidFill>
              </a:rPr>
              <a:t>Apply Graph Neural Network (GNN) to accurately model radio cellular network relations &amp; configurations</a:t>
            </a:r>
            <a:endParaRPr lang="en-US" sz="1400" dirty="0"/>
          </a:p>
        </p:txBody>
      </p:sp>
      <p:cxnSp>
        <p:nvCxnSpPr>
          <p:cNvPr id="154" name="Straight Arrow Connector 153">
            <a:extLst>
              <a:ext uri="{FF2B5EF4-FFF2-40B4-BE49-F238E27FC236}">
                <a16:creationId xmlns:a16="http://schemas.microsoft.com/office/drawing/2014/main" id="{0EE6685F-B7A5-7C72-37F2-708597ADBEBC}"/>
              </a:ext>
            </a:extLst>
          </p:cNvPr>
          <p:cNvCxnSpPr>
            <a:cxnSpLocks/>
          </p:cNvCxnSpPr>
          <p:nvPr/>
        </p:nvCxnSpPr>
        <p:spPr bwMode="auto">
          <a:xfrm>
            <a:off x="6892426" y="3074285"/>
            <a:ext cx="175701" cy="43192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55" name="Rectangle: Rounded Corners 154">
            <a:extLst>
              <a:ext uri="{FF2B5EF4-FFF2-40B4-BE49-F238E27FC236}">
                <a16:creationId xmlns:a16="http://schemas.microsoft.com/office/drawing/2014/main" id="{95D1BC53-1A9D-9DD4-0D3B-AF65D3F81A98}"/>
              </a:ext>
            </a:extLst>
          </p:cNvPr>
          <p:cNvSpPr/>
          <p:nvPr/>
        </p:nvSpPr>
        <p:spPr bwMode="auto">
          <a:xfrm>
            <a:off x="6188775" y="5551130"/>
            <a:ext cx="1102781" cy="718551"/>
          </a:xfrm>
          <a:prstGeom prst="roundRect">
            <a:avLst/>
          </a:prstGeom>
          <a:solidFill>
            <a:srgbClr val="0082F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476239" indent="-476239" defTabSz="1219170" fontAlgn="base">
              <a:spcBef>
                <a:spcPts val="400"/>
              </a:spcBef>
              <a:spcAft>
                <a:spcPct val="0"/>
              </a:spcAft>
              <a:buFont typeface="Ericsson Hilda" panose="00000500000000000000" pitchFamily="2" charset="0"/>
              <a:buChar char="—"/>
            </a:pPr>
            <a:endParaRPr lang="en-US" sz="2667">
              <a:solidFill>
                <a:schemeClr val="bg1"/>
              </a:solidFill>
            </a:endParaRPr>
          </a:p>
        </p:txBody>
      </p:sp>
      <p:sp>
        <p:nvSpPr>
          <p:cNvPr id="156" name="Rectangle: Rounded Corners 155">
            <a:extLst>
              <a:ext uri="{FF2B5EF4-FFF2-40B4-BE49-F238E27FC236}">
                <a16:creationId xmlns:a16="http://schemas.microsoft.com/office/drawing/2014/main" id="{361000F8-1DB7-5CFC-3246-1ED9788EAA24}"/>
              </a:ext>
            </a:extLst>
          </p:cNvPr>
          <p:cNvSpPr/>
          <p:nvPr/>
        </p:nvSpPr>
        <p:spPr bwMode="auto">
          <a:xfrm>
            <a:off x="120328" y="5583827"/>
            <a:ext cx="1102781" cy="718551"/>
          </a:xfrm>
          <a:prstGeom prst="roundRect">
            <a:avLst/>
          </a:prstGeom>
          <a:solidFill>
            <a:srgbClr val="0082F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6000" tIns="48000" rIns="97536" bIns="4876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476239" indent="-476239" defTabSz="1219170" fontAlgn="base">
              <a:spcBef>
                <a:spcPts val="400"/>
              </a:spcBef>
              <a:spcAft>
                <a:spcPct val="0"/>
              </a:spcAft>
              <a:buFont typeface="Ericsson Hilda" panose="00000500000000000000" pitchFamily="2" charset="0"/>
              <a:buChar char="—"/>
            </a:pPr>
            <a:endParaRPr lang="en-US" sz="2667">
              <a:solidFill>
                <a:schemeClr val="bg1"/>
              </a:solidFill>
            </a:endParaRPr>
          </a:p>
        </p:txBody>
      </p:sp>
      <p:pic>
        <p:nvPicPr>
          <p:cNvPr id="157" name="Picture Placeholder 39">
            <a:extLst>
              <a:ext uri="{FF2B5EF4-FFF2-40B4-BE49-F238E27FC236}">
                <a16:creationId xmlns:a16="http://schemas.microsoft.com/office/drawing/2014/main" id="{F57F5EE1-A853-E15C-317C-88A33E1DE17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10" b="110"/>
          <a:stretch>
            <a:fillRect/>
          </a:stretch>
        </p:blipFill>
        <p:spPr>
          <a:xfrm>
            <a:off x="6433315" y="5626301"/>
            <a:ext cx="585287" cy="585287"/>
          </a:xfrm>
          <a:prstGeom prst="rect">
            <a:avLst/>
          </a:prstGeom>
        </p:spPr>
      </p:pic>
      <p:pic>
        <p:nvPicPr>
          <p:cNvPr id="158" name="Picture Placeholder 29">
            <a:extLst>
              <a:ext uri="{FF2B5EF4-FFF2-40B4-BE49-F238E27FC236}">
                <a16:creationId xmlns:a16="http://schemas.microsoft.com/office/drawing/2014/main" id="{52155BDB-0A83-772F-AAC5-4B6CC5890F7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t="73" b="73"/>
          <a:stretch>
            <a:fillRect/>
          </a:stretch>
        </p:blipFill>
        <p:spPr>
          <a:xfrm>
            <a:off x="311809" y="5638385"/>
            <a:ext cx="651683" cy="651683"/>
          </a:xfrm>
          <a:prstGeom prst="rect">
            <a:avLst/>
          </a:prstGeom>
        </p:spPr>
      </p:pic>
      <p:sp>
        <p:nvSpPr>
          <p:cNvPr id="159" name="TextBox 158">
            <a:extLst>
              <a:ext uri="{FF2B5EF4-FFF2-40B4-BE49-F238E27FC236}">
                <a16:creationId xmlns:a16="http://schemas.microsoft.com/office/drawing/2014/main" id="{E35D4AE8-788A-ABA1-E3E3-051F754388A5}"/>
              </a:ext>
            </a:extLst>
          </p:cNvPr>
          <p:cNvSpPr txBox="1"/>
          <p:nvPr/>
        </p:nvSpPr>
        <p:spPr>
          <a:xfrm>
            <a:off x="1203354" y="5558734"/>
            <a:ext cx="4570532" cy="6872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933" algn="just">
              <a:spcBef>
                <a:spcPts val="867"/>
              </a:spcBef>
            </a:pPr>
            <a:r>
              <a:rPr lang="en-US" sz="1067" b="1" dirty="0">
                <a:cs typeface="Arial"/>
              </a:rPr>
              <a:t>Accurate modeling of real cellular network behavior</a:t>
            </a:r>
          </a:p>
          <a:p>
            <a:pPr marL="16933" algn="just"/>
            <a:r>
              <a:rPr lang="en-US" sz="933" dirty="0">
                <a:cs typeface="Arial"/>
              </a:rPr>
              <a:t>GNN architecture provides a native way of modelling cellular network interactions. The framework being developed will make the optimizer development process very straight forward and intuitive.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0DFBEA14-CF4B-2535-C149-F24DCC354B6E}"/>
              </a:ext>
            </a:extLst>
          </p:cNvPr>
          <p:cNvSpPr txBox="1"/>
          <p:nvPr/>
        </p:nvSpPr>
        <p:spPr>
          <a:xfrm>
            <a:off x="7382768" y="5559594"/>
            <a:ext cx="4606568" cy="7026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272"/>
              </a:spcBef>
            </a:pPr>
            <a:r>
              <a:rPr lang="en-US" sz="1067" b="1" spc="-13" dirty="0">
                <a:cs typeface="Arial"/>
              </a:rPr>
              <a:t>Digital Twin</a:t>
            </a:r>
            <a:endParaRPr lang="en-US" sz="1067" dirty="0">
              <a:cs typeface="Arial"/>
            </a:endParaRPr>
          </a:p>
          <a:p>
            <a:pPr marR="6773" algn="just">
              <a:lnSpc>
                <a:spcPct val="104600"/>
              </a:lnSpc>
              <a:spcBef>
                <a:spcPts val="13"/>
              </a:spcBef>
            </a:pPr>
            <a:r>
              <a:rPr lang="en-US" sz="933" dirty="0">
                <a:cs typeface="Arial"/>
              </a:rPr>
              <a:t>GNN optimizer modelling enable the finding of the optimal configuration without the need of interacting with the live network by emulating radio network performance functionality from real network data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CE1CAB05-883D-DD81-176C-F5450D0DBC3B}"/>
              </a:ext>
            </a:extLst>
          </p:cNvPr>
          <p:cNvSpPr/>
          <p:nvPr/>
        </p:nvSpPr>
        <p:spPr>
          <a:xfrm>
            <a:off x="6423264" y="719014"/>
            <a:ext cx="3845907" cy="748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67" b="1" dirty="0">
                <a:solidFill>
                  <a:srgbClr val="181818"/>
                </a:solidFill>
              </a:rPr>
              <a:t>Encode Network Data</a:t>
            </a:r>
          </a:p>
          <a:p>
            <a:pPr algn="ctr"/>
            <a:r>
              <a:rPr lang="en-US" sz="1400" kern="1000" spc="-40" dirty="0">
                <a:solidFill>
                  <a:srgbClr val="181818"/>
                </a:solidFill>
              </a:rPr>
              <a:t>Generic parameter framework to emulate effect on network performance indicator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4725808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" name="Group 104">
            <a:extLst>
              <a:ext uri="{FF2B5EF4-FFF2-40B4-BE49-F238E27FC236}">
                <a16:creationId xmlns:a16="http://schemas.microsoft.com/office/drawing/2014/main" id="{8D9CE653-1957-B3B7-EA86-0D4BFE10EE7A}"/>
              </a:ext>
            </a:extLst>
          </p:cNvPr>
          <p:cNvGrpSpPr/>
          <p:nvPr/>
        </p:nvGrpSpPr>
        <p:grpSpPr>
          <a:xfrm>
            <a:off x="4087117" y="1182470"/>
            <a:ext cx="4130361" cy="2637459"/>
            <a:chOff x="4085636" y="1037934"/>
            <a:chExt cx="4130361" cy="2637459"/>
          </a:xfrm>
        </p:grpSpPr>
        <p:sp>
          <p:nvSpPr>
            <p:cNvPr id="106" name="Circular Arrow 87">
              <a:extLst>
                <a:ext uri="{FF2B5EF4-FFF2-40B4-BE49-F238E27FC236}">
                  <a16:creationId xmlns:a16="http://schemas.microsoft.com/office/drawing/2014/main" id="{DD09C8C4-90D8-DAC1-1F02-62561D32D6B3}"/>
                </a:ext>
              </a:extLst>
            </p:cNvPr>
            <p:cNvSpPr/>
            <p:nvPr/>
          </p:nvSpPr>
          <p:spPr bwMode="auto">
            <a:xfrm>
              <a:off x="4085636" y="1037934"/>
              <a:ext cx="4130361" cy="2637459"/>
            </a:xfrm>
            <a:prstGeom prst="circularArrow">
              <a:avLst>
                <a:gd name="adj1" fmla="val 2816"/>
                <a:gd name="adj2" fmla="val 414296"/>
                <a:gd name="adj3" fmla="val 20387015"/>
                <a:gd name="adj4" fmla="val 11914307"/>
                <a:gd name="adj5" fmla="val 7129"/>
              </a:avLst>
            </a:prstGeom>
            <a:solidFill>
              <a:schemeClr val="accent5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57179" indent="-357179" defTabSz="914377" fontAlgn="base">
                <a:spcBef>
                  <a:spcPts val="300"/>
                </a:spcBef>
                <a:spcAft>
                  <a:spcPct val="0"/>
                </a:spcAft>
                <a:buFont typeface="Ericsson Hilda" panose="00000500000000000000" pitchFamily="2" charset="0"/>
                <a:buChar char="—"/>
                <a:defRPr/>
              </a:pPr>
              <a:endParaRPr lang="en-US" sz="2000" dirty="0">
                <a:solidFill>
                  <a:srgbClr val="FFFFFF"/>
                </a:solidFill>
                <a:latin typeface="Ericsson Hilda Light" panose="00000400000000000000" pitchFamily="2" charset="0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69FB8E97-B92A-AFF0-7765-9C330092A2CA}"/>
                </a:ext>
              </a:extLst>
            </p:cNvPr>
            <p:cNvSpPr txBox="1"/>
            <p:nvPr/>
          </p:nvSpPr>
          <p:spPr bwMode="auto">
            <a:xfrm>
              <a:off x="5073468" y="1420616"/>
              <a:ext cx="2229578" cy="54212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70AD47"/>
                </a:buClr>
                <a:defRPr/>
              </a:pPr>
              <a:r>
                <a:rPr lang="en-US" sz="1400" dirty="0">
                  <a:latin typeface="Ericsson Hilda Light" panose="00000400000000000000" pitchFamily="2" charset="0"/>
                </a:rPr>
                <a:t>1.    Predict SINR with</a:t>
              </a:r>
            </a:p>
            <a:p>
              <a:pPr indent="346066" defTabSz="914377">
                <a:buClr>
                  <a:srgbClr val="181818"/>
                </a:buClr>
                <a:defRPr/>
              </a:pPr>
              <a:r>
                <a:rPr lang="en-US" sz="1400" dirty="0">
                  <a:latin typeface="Ericsson Hilda Light" panose="00000400000000000000" pitchFamily="2" charset="0"/>
                </a:rPr>
                <a:t>current parameters</a:t>
              </a:r>
            </a:p>
          </p:txBody>
        </p:sp>
      </p:grpSp>
      <p:sp>
        <p:nvSpPr>
          <p:cNvPr id="108" name="TextBox 107">
            <a:extLst>
              <a:ext uri="{FF2B5EF4-FFF2-40B4-BE49-F238E27FC236}">
                <a16:creationId xmlns:a16="http://schemas.microsoft.com/office/drawing/2014/main" id="{9E5226B6-73E8-0F37-CF87-647F0A5E8BD8}"/>
              </a:ext>
            </a:extLst>
          </p:cNvPr>
          <p:cNvSpPr txBox="1"/>
          <p:nvPr/>
        </p:nvSpPr>
        <p:spPr bwMode="auto">
          <a:xfrm>
            <a:off x="5078581" y="5868898"/>
            <a:ext cx="3047060" cy="58233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72000" tIns="36000" rIns="73152" bIns="36576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marL="342900" marR="0" lvl="0" indent="-3429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2F0"/>
              </a:buClr>
              <a:buSzTx/>
              <a:buFont typeface="+mj-lt"/>
              <a:buAutoNum type="arabicPeriod"/>
              <a:tabLst/>
              <a:defRPr kumimoji="0" sz="1600" b="0" i="0" u="none" strike="noStrike" kern="0" cap="none" spc="0" normalizeH="0" baseline="0">
                <a:ln>
                  <a:noFill/>
                </a:ln>
                <a:solidFill>
                  <a:srgbClr val="0082F0"/>
                </a:solidFill>
                <a:effectLst/>
                <a:uLnTx/>
                <a:uFillTx/>
              </a:defRPr>
            </a:lvl1pPr>
          </a:lstStyle>
          <a:p>
            <a:pPr marL="0" indent="0">
              <a:buClr>
                <a:srgbClr val="70AD47">
                  <a:lumMod val="75000"/>
                </a:srgbClr>
              </a:buClr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Ericsson Hilda Light" panose="00000400000000000000" pitchFamily="2" charset="0"/>
              </a:rPr>
              <a:t>2.    </a:t>
            </a:r>
            <a:r>
              <a:rPr lang="en-US" sz="1400" dirty="0">
                <a:solidFill>
                  <a:sysClr val="windowText" lastClr="000000"/>
                </a:solidFill>
                <a:latin typeface="Ericsson Hilda Light" panose="00000400000000000000" pitchFamily="2" charset="0"/>
              </a:rPr>
              <a:t>Alter power parameters until </a:t>
            </a:r>
            <a:endParaRPr lang="en-US" sz="1400" dirty="0">
              <a:solidFill>
                <a:prstClr val="black"/>
              </a:solidFill>
              <a:latin typeface="Ericsson Hilda Light" panose="00000400000000000000" pitchFamily="2" charset="0"/>
            </a:endParaRPr>
          </a:p>
          <a:p>
            <a:pPr marL="0" indent="346066">
              <a:buClr>
                <a:srgbClr val="181818"/>
              </a:buClr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Ericsson Hilda Light" panose="00000400000000000000" pitchFamily="2" charset="0"/>
              </a:rPr>
              <a:t>predicted SINR is maximized</a:t>
            </a:r>
          </a:p>
          <a:p>
            <a:pPr marL="0" indent="0" defTabSz="914377">
              <a:buClr>
                <a:srgbClr val="0062B4"/>
              </a:buClr>
              <a:buNone/>
              <a:defRPr/>
            </a:pPr>
            <a:endParaRPr lang="en-US" dirty="0">
              <a:solidFill>
                <a:sysClr val="windowText" lastClr="000000"/>
              </a:solidFill>
              <a:latin typeface="Ericsson Hilda Light" panose="00000400000000000000" pitchFamily="2" charset="0"/>
            </a:endParaRP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A2A697B5-4915-801B-065B-5D71970E4ACD}"/>
              </a:ext>
            </a:extLst>
          </p:cNvPr>
          <p:cNvGrpSpPr/>
          <p:nvPr/>
        </p:nvGrpSpPr>
        <p:grpSpPr>
          <a:xfrm>
            <a:off x="797318" y="2882378"/>
            <a:ext cx="3144876" cy="3190660"/>
            <a:chOff x="969302" y="2737842"/>
            <a:chExt cx="3144876" cy="3190660"/>
          </a:xfrm>
        </p:grpSpPr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5E59CA10-6908-33AE-BCCF-64FC5F090E32}"/>
                </a:ext>
              </a:extLst>
            </p:cNvPr>
            <p:cNvSpPr txBox="1"/>
            <p:nvPr/>
          </p:nvSpPr>
          <p:spPr bwMode="auto">
            <a:xfrm>
              <a:off x="1122458" y="2737842"/>
              <a:ext cx="828064" cy="31825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0082F0"/>
                  </a:solidFill>
                  <a:latin typeface="Ericsson Hilda Light" panose="00000400000000000000" pitchFamily="2" charset="0"/>
                </a:rPr>
                <a:t>[-92, 9]</a:t>
              </a:r>
            </a:p>
          </p:txBody>
        </p:sp>
        <p:sp>
          <p:nvSpPr>
            <p:cNvPr id="111" name="Right Arrow 6">
              <a:extLst>
                <a:ext uri="{FF2B5EF4-FFF2-40B4-BE49-F238E27FC236}">
                  <a16:creationId xmlns:a16="http://schemas.microsoft.com/office/drawing/2014/main" id="{84852F92-A1B7-18F8-C4D1-04A6A8F2885F}"/>
                </a:ext>
              </a:extLst>
            </p:cNvPr>
            <p:cNvSpPr/>
            <p:nvPr/>
          </p:nvSpPr>
          <p:spPr bwMode="auto">
            <a:xfrm>
              <a:off x="969302" y="2815117"/>
              <a:ext cx="201749" cy="131665"/>
            </a:xfrm>
            <a:prstGeom prst="rightArrow">
              <a:avLst/>
            </a:prstGeom>
            <a:solidFill>
              <a:srgbClr val="0082F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57179" indent="-357179" defTabSz="914377" fontAlgn="base">
                <a:spcBef>
                  <a:spcPts val="300"/>
                </a:spcBef>
                <a:spcAft>
                  <a:spcPct val="0"/>
                </a:spcAft>
                <a:buFont typeface="Ericsson Hilda" panose="00000500000000000000" pitchFamily="2" charset="0"/>
                <a:buChar char="—"/>
                <a:defRPr/>
              </a:pPr>
              <a:endParaRPr lang="en-US" sz="2000" err="1">
                <a:solidFill>
                  <a:srgbClr val="FFFFFF"/>
                </a:solidFill>
                <a:latin typeface="Ericsson Hilda Light" panose="00000400000000000000" pitchFamily="2" charset="0"/>
              </a:endParaRP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3F977C77-16F6-EC5C-156A-A1B0C40EED1F}"/>
                </a:ext>
              </a:extLst>
            </p:cNvPr>
            <p:cNvSpPr txBox="1"/>
            <p:nvPr/>
          </p:nvSpPr>
          <p:spPr bwMode="auto">
            <a:xfrm>
              <a:off x="3334871" y="5659907"/>
              <a:ext cx="779307" cy="26859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0082F0"/>
                  </a:solidFill>
                  <a:latin typeface="Ericsson Hilda Light" panose="00000400000000000000" pitchFamily="2" charset="0"/>
                </a:rPr>
                <a:t>[-88, 9]</a:t>
              </a:r>
            </a:p>
          </p:txBody>
        </p:sp>
        <p:sp>
          <p:nvSpPr>
            <p:cNvPr id="113" name="Right Arrow 6">
              <a:extLst>
                <a:ext uri="{FF2B5EF4-FFF2-40B4-BE49-F238E27FC236}">
                  <a16:creationId xmlns:a16="http://schemas.microsoft.com/office/drawing/2014/main" id="{3CCEED6A-326C-9000-5A3E-78B32493C755}"/>
                </a:ext>
              </a:extLst>
            </p:cNvPr>
            <p:cNvSpPr/>
            <p:nvPr/>
          </p:nvSpPr>
          <p:spPr bwMode="auto">
            <a:xfrm rot="5400000">
              <a:off x="3619245" y="5504872"/>
              <a:ext cx="201749" cy="131665"/>
            </a:xfrm>
            <a:prstGeom prst="rightArrow">
              <a:avLst/>
            </a:prstGeom>
            <a:solidFill>
              <a:srgbClr val="0082F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57179" indent="-357179" defTabSz="914377" fontAlgn="base">
                <a:spcBef>
                  <a:spcPts val="300"/>
                </a:spcBef>
                <a:spcAft>
                  <a:spcPct val="0"/>
                </a:spcAft>
                <a:buFont typeface="Ericsson Hilda" panose="00000500000000000000" pitchFamily="2" charset="0"/>
                <a:buChar char="—"/>
                <a:defRPr/>
              </a:pPr>
              <a:endParaRPr lang="en-US" sz="2000" err="1">
                <a:solidFill>
                  <a:srgbClr val="FFFFFF"/>
                </a:solidFill>
                <a:latin typeface="Ericsson Hilda Light" panose="00000400000000000000" pitchFamily="2" charset="0"/>
              </a:endParaRP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5B5C8BA1-93E5-31F8-B2D4-E7130FEDA6F8}"/>
              </a:ext>
            </a:extLst>
          </p:cNvPr>
          <p:cNvGrpSpPr/>
          <p:nvPr/>
        </p:nvGrpSpPr>
        <p:grpSpPr>
          <a:xfrm>
            <a:off x="7970130" y="2583665"/>
            <a:ext cx="4098359" cy="3429331"/>
            <a:chOff x="7762507" y="2419623"/>
            <a:chExt cx="4098359" cy="3429330"/>
          </a:xfrm>
        </p:grpSpPr>
        <p:sp>
          <p:nvSpPr>
            <p:cNvPr id="115" name="Right Arrow 6">
              <a:extLst>
                <a:ext uri="{FF2B5EF4-FFF2-40B4-BE49-F238E27FC236}">
                  <a16:creationId xmlns:a16="http://schemas.microsoft.com/office/drawing/2014/main" id="{70C9F6D5-DE8B-D887-4D71-114FFC45B5BE}"/>
                </a:ext>
              </a:extLst>
            </p:cNvPr>
            <p:cNvSpPr/>
            <p:nvPr/>
          </p:nvSpPr>
          <p:spPr bwMode="auto">
            <a:xfrm rot="16200000">
              <a:off x="7846712" y="2695977"/>
              <a:ext cx="201749" cy="131665"/>
            </a:xfrm>
            <a:prstGeom prst="rightArrow">
              <a:avLst/>
            </a:prstGeom>
            <a:solidFill>
              <a:schemeClr val="accent6">
                <a:lumMod val="75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57179" indent="-357179" defTabSz="914377" fontAlgn="base">
                <a:spcBef>
                  <a:spcPts val="300"/>
                </a:spcBef>
                <a:spcAft>
                  <a:spcPct val="0"/>
                </a:spcAft>
                <a:buFont typeface="Ericsson Hilda" panose="00000500000000000000" pitchFamily="2" charset="0"/>
                <a:buChar char="—"/>
                <a:defRPr/>
              </a:pPr>
              <a:endParaRPr lang="en-US" sz="2000" err="1">
                <a:solidFill>
                  <a:srgbClr val="FFFFFF"/>
                </a:solidFill>
                <a:latin typeface="Ericsson Hilda Light" panose="00000400000000000000" pitchFamily="2" charset="0"/>
              </a:endParaRP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A1308D7B-042B-3783-2871-6C8C60B10126}"/>
                </a:ext>
              </a:extLst>
            </p:cNvPr>
            <p:cNvSpPr txBox="1"/>
            <p:nvPr/>
          </p:nvSpPr>
          <p:spPr bwMode="auto">
            <a:xfrm>
              <a:off x="7762507" y="2419623"/>
              <a:ext cx="358021" cy="25200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FF8C0A"/>
                  </a:solidFill>
                  <a:latin typeface="Ericsson Hilda Light" panose="00000400000000000000" pitchFamily="2" charset="0"/>
                </a:rPr>
                <a:t>13</a:t>
              </a:r>
            </a:p>
          </p:txBody>
        </p:sp>
        <p:sp>
          <p:nvSpPr>
            <p:cNvPr id="117" name="Right Arrow 6">
              <a:extLst>
                <a:ext uri="{FF2B5EF4-FFF2-40B4-BE49-F238E27FC236}">
                  <a16:creationId xmlns:a16="http://schemas.microsoft.com/office/drawing/2014/main" id="{4426C33B-A272-58A7-A351-4F48C8DF9BC9}"/>
                </a:ext>
              </a:extLst>
            </p:cNvPr>
            <p:cNvSpPr/>
            <p:nvPr/>
          </p:nvSpPr>
          <p:spPr bwMode="auto">
            <a:xfrm rot="5400000">
              <a:off x="10803096" y="5430243"/>
              <a:ext cx="201749" cy="131665"/>
            </a:xfrm>
            <a:prstGeom prst="rightArrow">
              <a:avLst/>
            </a:prstGeom>
            <a:solidFill>
              <a:schemeClr val="accent6">
                <a:lumMod val="75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57179" indent="-357179" defTabSz="914377" fontAlgn="base">
                <a:spcBef>
                  <a:spcPts val="300"/>
                </a:spcBef>
                <a:spcAft>
                  <a:spcPct val="0"/>
                </a:spcAft>
                <a:buFont typeface="Ericsson Hilda" panose="00000500000000000000" pitchFamily="2" charset="0"/>
                <a:buChar char="—"/>
                <a:defRPr/>
              </a:pPr>
              <a:endParaRPr lang="en-US" sz="2000" err="1">
                <a:solidFill>
                  <a:srgbClr val="FFFFFF"/>
                </a:solidFill>
                <a:latin typeface="Ericsson Hilda Light" panose="00000400000000000000" pitchFamily="2" charset="0"/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7A425C9E-1B23-C9B3-DD7A-4F18A22AC6F5}"/>
                </a:ext>
              </a:extLst>
            </p:cNvPr>
            <p:cNvSpPr txBox="1"/>
            <p:nvPr/>
          </p:nvSpPr>
          <p:spPr bwMode="auto">
            <a:xfrm>
              <a:off x="10724959" y="5596950"/>
              <a:ext cx="358021" cy="25200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FF8C0A"/>
                  </a:solidFill>
                  <a:latin typeface="Ericsson Hilda Light" panose="00000400000000000000" pitchFamily="2" charset="0"/>
                </a:rPr>
                <a:t>14</a:t>
              </a:r>
            </a:p>
          </p:txBody>
        </p:sp>
        <p:sp>
          <p:nvSpPr>
            <p:cNvPr id="119" name="Right Arrow 6">
              <a:extLst>
                <a:ext uri="{FF2B5EF4-FFF2-40B4-BE49-F238E27FC236}">
                  <a16:creationId xmlns:a16="http://schemas.microsoft.com/office/drawing/2014/main" id="{49D5524F-EB03-D0B0-DDD0-F492E73FC891}"/>
                </a:ext>
              </a:extLst>
            </p:cNvPr>
            <p:cNvSpPr/>
            <p:nvPr/>
          </p:nvSpPr>
          <p:spPr bwMode="auto">
            <a:xfrm rot="5400000">
              <a:off x="8855077" y="5241197"/>
              <a:ext cx="201749" cy="131665"/>
            </a:xfrm>
            <a:prstGeom prst="rightArrow">
              <a:avLst/>
            </a:prstGeom>
            <a:solidFill>
              <a:schemeClr val="accent6">
                <a:lumMod val="75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57179" indent="-357179" defTabSz="914377" fontAlgn="base">
                <a:spcBef>
                  <a:spcPts val="300"/>
                </a:spcBef>
                <a:spcAft>
                  <a:spcPct val="0"/>
                </a:spcAft>
                <a:buFont typeface="Ericsson Hilda" panose="00000500000000000000" pitchFamily="2" charset="0"/>
                <a:buChar char="—"/>
                <a:defRPr/>
              </a:pPr>
              <a:endParaRPr lang="en-US" sz="2000" err="1">
                <a:solidFill>
                  <a:srgbClr val="FFFFFF"/>
                </a:solidFill>
                <a:latin typeface="Ericsson Hilda Light" panose="00000400000000000000" pitchFamily="2" charset="0"/>
              </a:endParaRP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F07D8D47-F02D-803F-5D6E-402C7D3F49CD}"/>
                </a:ext>
              </a:extLst>
            </p:cNvPr>
            <p:cNvSpPr txBox="1"/>
            <p:nvPr/>
          </p:nvSpPr>
          <p:spPr bwMode="auto">
            <a:xfrm>
              <a:off x="8776940" y="5407904"/>
              <a:ext cx="358021" cy="25200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pt-BR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81818"/>
                </a:buClr>
                <a:buSzTx/>
                <a:buFontTx/>
                <a:buNone/>
                <a:tabLst/>
                <a:defRPr kumimoji="0" sz="1400" i="0" u="none" strike="noStrike" cap="none" spc="0" normalizeH="0" baseline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Ericsson Hilda"/>
                </a:defRPr>
              </a:lvl1pPr>
            </a:lstStyle>
            <a:p>
              <a:pPr defTabSz="914377">
                <a:defRPr/>
              </a:pPr>
              <a:r>
                <a:rPr lang="es-ES">
                  <a:latin typeface="Ericsson Hilda Light" panose="00000400000000000000" pitchFamily="2" charset="0"/>
                </a:rPr>
                <a:t>2</a:t>
              </a:r>
              <a:r>
                <a:rPr lang="en-US">
                  <a:latin typeface="Ericsson Hilda Light" panose="00000400000000000000" pitchFamily="2" charset="0"/>
                </a:rPr>
                <a:t>0</a:t>
              </a:r>
            </a:p>
          </p:txBody>
        </p:sp>
        <p:sp>
          <p:nvSpPr>
            <p:cNvPr id="121" name="Right Arrow 6">
              <a:extLst>
                <a:ext uri="{FF2B5EF4-FFF2-40B4-BE49-F238E27FC236}">
                  <a16:creationId xmlns:a16="http://schemas.microsoft.com/office/drawing/2014/main" id="{2017DA66-4949-B198-143A-7F7B3BE6B1D9}"/>
                </a:ext>
              </a:extLst>
            </p:cNvPr>
            <p:cNvSpPr/>
            <p:nvPr/>
          </p:nvSpPr>
          <p:spPr bwMode="auto">
            <a:xfrm rot="16200000">
              <a:off x="11587050" y="3133538"/>
              <a:ext cx="201749" cy="131665"/>
            </a:xfrm>
            <a:prstGeom prst="rightArrow">
              <a:avLst/>
            </a:prstGeom>
            <a:solidFill>
              <a:schemeClr val="accent6">
                <a:lumMod val="75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57179" indent="-357179" defTabSz="914377" fontAlgn="base">
                <a:spcBef>
                  <a:spcPts val="300"/>
                </a:spcBef>
                <a:spcAft>
                  <a:spcPct val="0"/>
                </a:spcAft>
                <a:buFont typeface="Ericsson Hilda" panose="00000500000000000000" pitchFamily="2" charset="0"/>
                <a:buChar char="—"/>
                <a:defRPr/>
              </a:pPr>
              <a:endParaRPr lang="en-US" sz="2000" err="1">
                <a:solidFill>
                  <a:srgbClr val="FFFFFF"/>
                </a:solidFill>
                <a:latin typeface="Ericsson Hilda Light" panose="00000400000000000000" pitchFamily="2" charset="0"/>
              </a:endParaRP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F511BBE5-873E-9EEF-1E53-3C7EA87C7442}"/>
                </a:ext>
              </a:extLst>
            </p:cNvPr>
            <p:cNvSpPr txBox="1"/>
            <p:nvPr/>
          </p:nvSpPr>
          <p:spPr bwMode="auto">
            <a:xfrm>
              <a:off x="11502845" y="2863362"/>
              <a:ext cx="358021" cy="25200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00B050"/>
                  </a:solidFill>
                  <a:latin typeface="Ericsson Hilda Light" panose="00000400000000000000" pitchFamily="2" charset="0"/>
                </a:rPr>
                <a:t>16</a:t>
              </a:r>
            </a:p>
          </p:txBody>
        </p:sp>
        <p:sp>
          <p:nvSpPr>
            <p:cNvPr id="123" name="Right Arrow 6">
              <a:extLst>
                <a:ext uri="{FF2B5EF4-FFF2-40B4-BE49-F238E27FC236}">
                  <a16:creationId xmlns:a16="http://schemas.microsoft.com/office/drawing/2014/main" id="{F0613B1B-BA1E-6BCC-09D9-9E1836A249D0}"/>
                </a:ext>
              </a:extLst>
            </p:cNvPr>
            <p:cNvSpPr/>
            <p:nvPr/>
          </p:nvSpPr>
          <p:spPr bwMode="auto">
            <a:xfrm rot="16200000">
              <a:off x="9811672" y="3041862"/>
              <a:ext cx="201749" cy="131665"/>
            </a:xfrm>
            <a:prstGeom prst="rightArrow">
              <a:avLst/>
            </a:prstGeom>
            <a:solidFill>
              <a:schemeClr val="accent6">
                <a:lumMod val="75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57179" indent="-357179" defTabSz="914377" fontAlgn="base">
                <a:spcBef>
                  <a:spcPts val="300"/>
                </a:spcBef>
                <a:spcAft>
                  <a:spcPct val="0"/>
                </a:spcAft>
                <a:buFont typeface="Ericsson Hilda" panose="00000500000000000000" pitchFamily="2" charset="0"/>
                <a:buChar char="—"/>
                <a:defRPr/>
              </a:pPr>
              <a:endParaRPr lang="en-US" sz="2000" err="1">
                <a:solidFill>
                  <a:srgbClr val="FFFFFF"/>
                </a:solidFill>
                <a:latin typeface="Ericsson Hilda Light" panose="00000400000000000000" pitchFamily="2" charset="0"/>
              </a:endParaRP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09C64BED-785E-FE34-793F-0AEABBDA5FB3}"/>
                </a:ext>
              </a:extLst>
            </p:cNvPr>
            <p:cNvSpPr txBox="1"/>
            <p:nvPr/>
          </p:nvSpPr>
          <p:spPr bwMode="auto">
            <a:xfrm>
              <a:off x="9727467" y="2765508"/>
              <a:ext cx="358021" cy="25200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FF8C0A"/>
                  </a:solidFill>
                  <a:latin typeface="Ericsson Hilda Light" panose="00000400000000000000" pitchFamily="2" charset="0"/>
                </a:rPr>
                <a:t>15</a:t>
              </a:r>
            </a:p>
          </p:txBody>
        </p:sp>
      </p:grpSp>
      <p:sp>
        <p:nvSpPr>
          <p:cNvPr id="125" name="TextBox 124">
            <a:extLst>
              <a:ext uri="{FF2B5EF4-FFF2-40B4-BE49-F238E27FC236}">
                <a16:creationId xmlns:a16="http://schemas.microsoft.com/office/drawing/2014/main" id="{2A39BC79-3CB4-0266-D057-3C996D689327}"/>
              </a:ext>
            </a:extLst>
          </p:cNvPr>
          <p:cNvSpPr txBox="1"/>
          <p:nvPr/>
        </p:nvSpPr>
        <p:spPr bwMode="auto">
          <a:xfrm>
            <a:off x="5074948" y="2115528"/>
            <a:ext cx="2229579" cy="54212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72000" tIns="36000" rIns="73152" bIns="36576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14377">
              <a:buClr>
                <a:srgbClr val="70AD47">
                  <a:lumMod val="75000"/>
                </a:srgbClr>
              </a:buClr>
              <a:defRPr/>
            </a:pPr>
            <a:r>
              <a:rPr lang="en-US" sz="1400" dirty="0">
                <a:latin typeface="Ericsson Hilda Light" panose="00000400000000000000" pitchFamily="2" charset="0"/>
              </a:rPr>
              <a:t>2.    Predict SINR with</a:t>
            </a:r>
          </a:p>
          <a:p>
            <a:pPr indent="346066" defTabSz="914377">
              <a:buClr>
                <a:srgbClr val="181818"/>
              </a:buClr>
              <a:defRPr/>
            </a:pPr>
            <a:r>
              <a:rPr lang="en-US" sz="1400" dirty="0">
                <a:latin typeface="Ericsson Hilda Light" panose="00000400000000000000" pitchFamily="2" charset="0"/>
              </a:rPr>
              <a:t>new parameters</a:t>
            </a:r>
          </a:p>
        </p:txBody>
      </p: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82E453CD-A8CC-E0C8-FEAB-E56980FC3EF0}"/>
              </a:ext>
            </a:extLst>
          </p:cNvPr>
          <p:cNvGrpSpPr/>
          <p:nvPr/>
        </p:nvGrpSpPr>
        <p:grpSpPr>
          <a:xfrm>
            <a:off x="4253213" y="2959159"/>
            <a:ext cx="4130361" cy="2914860"/>
            <a:chOff x="4251732" y="2814623"/>
            <a:chExt cx="4130361" cy="2914860"/>
          </a:xfrm>
        </p:grpSpPr>
        <p:sp>
          <p:nvSpPr>
            <p:cNvPr id="127" name="Circular Arrow 21">
              <a:extLst>
                <a:ext uri="{FF2B5EF4-FFF2-40B4-BE49-F238E27FC236}">
                  <a16:creationId xmlns:a16="http://schemas.microsoft.com/office/drawing/2014/main" id="{8A505F06-7566-36F8-9E65-28DC1E847FBC}"/>
                </a:ext>
              </a:extLst>
            </p:cNvPr>
            <p:cNvSpPr/>
            <p:nvPr/>
          </p:nvSpPr>
          <p:spPr bwMode="auto">
            <a:xfrm flipH="1" flipV="1">
              <a:off x="4251732" y="2814623"/>
              <a:ext cx="4130361" cy="2637459"/>
            </a:xfrm>
            <a:prstGeom prst="circularArrow">
              <a:avLst>
                <a:gd name="adj1" fmla="val 2816"/>
                <a:gd name="adj2" fmla="val 414296"/>
                <a:gd name="adj3" fmla="val 20387015"/>
                <a:gd name="adj4" fmla="val 11914307"/>
                <a:gd name="adj5" fmla="val 7129"/>
              </a:avLst>
            </a:prstGeom>
            <a:solidFill>
              <a:schemeClr val="bg2">
                <a:lumMod val="75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57179" indent="-357179" defTabSz="914377" fontAlgn="base">
                <a:spcBef>
                  <a:spcPts val="300"/>
                </a:spcBef>
                <a:spcAft>
                  <a:spcPct val="0"/>
                </a:spcAft>
                <a:buFont typeface="Ericsson Hilda" panose="00000500000000000000" pitchFamily="2" charset="0"/>
                <a:buChar char="—"/>
                <a:defRPr/>
              </a:pPr>
              <a:endParaRPr lang="en-US" sz="2000" dirty="0">
                <a:solidFill>
                  <a:srgbClr val="FFFFFF"/>
                </a:solidFill>
                <a:latin typeface="Ericsson Hilda Light" panose="00000400000000000000" pitchFamily="2" charset="0"/>
              </a:endParaRP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5FB138CE-84E7-930E-DA9B-E155A217A323}"/>
                </a:ext>
              </a:extLst>
            </p:cNvPr>
            <p:cNvSpPr txBox="1"/>
            <p:nvPr/>
          </p:nvSpPr>
          <p:spPr bwMode="auto">
            <a:xfrm>
              <a:off x="5073468" y="5417168"/>
              <a:ext cx="2613447" cy="31231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pt-BR"/>
              </a:defPPr>
              <a:lvl1pPr marL="342900" marR="0" lvl="0" indent="-3429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82F0"/>
                </a:buClr>
                <a:buSzTx/>
                <a:buFont typeface="+mj-lt"/>
                <a:buAutoNum type="arabicPeriod"/>
                <a:tabLst/>
                <a:defRPr kumimoji="0" sz="1600" b="0" i="0" u="none" strike="noStrike" kern="0" cap="none" spc="0" normalizeH="0" baseline="0">
                  <a:ln>
                    <a:noFill/>
                  </a:ln>
                  <a:solidFill>
                    <a:srgbClr val="0082F0"/>
                  </a:solidFill>
                  <a:effectLst/>
                  <a:uLnTx/>
                  <a:uFillTx/>
                </a:defRPr>
              </a:lvl1pPr>
            </a:lstStyle>
            <a:p>
              <a:pPr marL="0" indent="0" defTabSz="914377">
                <a:buNone/>
                <a:defRPr/>
              </a:pPr>
              <a:r>
                <a:rPr lang="en-US" sz="1400" dirty="0">
                  <a:solidFill>
                    <a:schemeClr val="tx1"/>
                  </a:solidFill>
                  <a:latin typeface="Ericsson Hilda Light" panose="00000400000000000000" pitchFamily="2" charset="0"/>
                </a:rPr>
                <a:t>1.    Alter power parameters</a:t>
              </a:r>
            </a:p>
          </p:txBody>
        </p: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1F02E7E1-7CC0-EFBA-4117-FE4E8BC9F732}"/>
              </a:ext>
            </a:extLst>
          </p:cNvPr>
          <p:cNvGrpSpPr/>
          <p:nvPr/>
        </p:nvGrpSpPr>
        <p:grpSpPr>
          <a:xfrm>
            <a:off x="0" y="1102855"/>
            <a:ext cx="4778401" cy="4500500"/>
            <a:chOff x="182184" y="967284"/>
            <a:chExt cx="4778401" cy="4500500"/>
          </a:xfrm>
        </p:grpSpPr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BBB50851-DBCA-8EC0-D8EC-849C437F210B}"/>
                </a:ext>
              </a:extLst>
            </p:cNvPr>
            <p:cNvSpPr txBox="1"/>
            <p:nvPr/>
          </p:nvSpPr>
          <p:spPr bwMode="auto">
            <a:xfrm>
              <a:off x="1440322" y="967284"/>
              <a:ext cx="2184988" cy="39257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2000" dirty="0">
                  <a:solidFill>
                    <a:srgbClr val="181818"/>
                  </a:solidFill>
                  <a:latin typeface="Ericsson Hilda Light" panose="00000400000000000000" pitchFamily="2" charset="0"/>
                </a:rPr>
                <a:t>Test Configuration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E4CFC258-D7EF-50BA-C682-260A6BB9C39D}"/>
                </a:ext>
              </a:extLst>
            </p:cNvPr>
            <p:cNvSpPr txBox="1"/>
            <p:nvPr/>
          </p:nvSpPr>
          <p:spPr bwMode="auto">
            <a:xfrm>
              <a:off x="1178168" y="1331274"/>
              <a:ext cx="2747978" cy="31825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600" dirty="0">
                  <a:solidFill>
                    <a:srgbClr val="181818"/>
                  </a:solidFill>
                  <a:latin typeface="Ericsson Hilda Light" panose="00000400000000000000" pitchFamily="2" charset="0"/>
                </a:rPr>
                <a:t>(Including Performance KPIs)</a:t>
              </a: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E63480B9-D268-9511-AE44-7F8F4925F435}"/>
                </a:ext>
              </a:extLst>
            </p:cNvPr>
            <p:cNvSpPr txBox="1"/>
            <p:nvPr/>
          </p:nvSpPr>
          <p:spPr bwMode="auto">
            <a:xfrm>
              <a:off x="1715831" y="1899874"/>
              <a:ext cx="816985" cy="25977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 dirty="0">
                  <a:solidFill>
                    <a:srgbClr val="181818"/>
                  </a:solidFill>
                  <a:latin typeface="Ericsson Hilda Light" panose="00000400000000000000" pitchFamily="2" charset="0"/>
                </a:rPr>
                <a:t>[-110, 8]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61BBD59A-9D9B-2940-E27D-480031B36812}"/>
                </a:ext>
              </a:extLst>
            </p:cNvPr>
            <p:cNvSpPr txBox="1"/>
            <p:nvPr/>
          </p:nvSpPr>
          <p:spPr bwMode="auto">
            <a:xfrm>
              <a:off x="182184" y="2737842"/>
              <a:ext cx="828064" cy="31825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FF3232"/>
                  </a:solidFill>
                  <a:latin typeface="Ericsson Hilda Light" panose="00000400000000000000" pitchFamily="2" charset="0"/>
                </a:rPr>
                <a:t>[-106, 9]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3CEB8C56-01A3-1F12-FEE2-9CCC49529055}"/>
                </a:ext>
              </a:extLst>
            </p:cNvPr>
            <p:cNvSpPr txBox="1"/>
            <p:nvPr/>
          </p:nvSpPr>
          <p:spPr bwMode="auto">
            <a:xfrm>
              <a:off x="2400407" y="3157416"/>
              <a:ext cx="746470" cy="26504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181818"/>
                  </a:solidFill>
                  <a:latin typeface="Ericsson Hilda Light" panose="00000400000000000000" pitchFamily="2" charset="0"/>
                </a:rPr>
                <a:t>[-80, 8]</a:t>
              </a: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ED4809CC-9F66-259E-16CB-AED344EB801E}"/>
                </a:ext>
              </a:extLst>
            </p:cNvPr>
            <p:cNvSpPr txBox="1"/>
            <p:nvPr/>
          </p:nvSpPr>
          <p:spPr bwMode="auto">
            <a:xfrm>
              <a:off x="3537597" y="2076857"/>
              <a:ext cx="816985" cy="28164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181818"/>
                  </a:solidFill>
                  <a:latin typeface="Ericsson Hilda Light" panose="00000400000000000000" pitchFamily="2" charset="0"/>
                </a:rPr>
                <a:t>[-90, 10]</a:t>
              </a: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3BBB8FBC-5EFC-818E-78CD-6932B44B6E94}"/>
                </a:ext>
              </a:extLst>
            </p:cNvPr>
            <p:cNvSpPr txBox="1"/>
            <p:nvPr/>
          </p:nvSpPr>
          <p:spPr bwMode="auto">
            <a:xfrm>
              <a:off x="1343252" y="4930594"/>
              <a:ext cx="954726" cy="26859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181818"/>
                  </a:solidFill>
                  <a:latin typeface="Ericsson Hilda Light" panose="00000400000000000000" pitchFamily="2" charset="0"/>
                </a:rPr>
                <a:t>[-100, 10]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4CF05B16-8789-5919-9872-DBFE81FFCE49}"/>
                </a:ext>
              </a:extLst>
            </p:cNvPr>
            <p:cNvSpPr txBox="1"/>
            <p:nvPr/>
          </p:nvSpPr>
          <p:spPr bwMode="auto">
            <a:xfrm>
              <a:off x="4040120" y="3229144"/>
              <a:ext cx="920465" cy="26729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181818"/>
                  </a:solidFill>
                  <a:latin typeface="Ericsson Hilda Light" panose="00000400000000000000" pitchFamily="2" charset="0"/>
                </a:rPr>
                <a:t>[-120, 10]</a:t>
              </a: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01F28693-64C7-DE77-4696-92AB7685EDD0}"/>
                </a:ext>
              </a:extLst>
            </p:cNvPr>
            <p:cNvSpPr txBox="1"/>
            <p:nvPr/>
          </p:nvSpPr>
          <p:spPr bwMode="auto">
            <a:xfrm>
              <a:off x="3235871" y="5199189"/>
              <a:ext cx="954726" cy="26859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FF3232"/>
                  </a:solidFill>
                  <a:latin typeface="Ericsson Hilda Light" panose="00000400000000000000" pitchFamily="2" charset="0"/>
                </a:rPr>
                <a:t>[-103, 10]</a:t>
              </a:r>
            </a:p>
          </p:txBody>
        </p: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B0EDF55F-08C9-1EA8-22CD-7DDC1621994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35847" y="3553709"/>
              <a:ext cx="1326034" cy="215924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531BFDBF-42E7-2D2B-BEF9-A9BE1B112F82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2001067" y="4044403"/>
              <a:ext cx="551090" cy="324118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04483F21-5D6B-FD30-1E7C-52F8E3042E8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981463" y="3873187"/>
              <a:ext cx="1231392" cy="8899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9FE74193-D4FD-7722-3DD7-6FB1C7F15B5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861400" y="4078141"/>
              <a:ext cx="551629" cy="440222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D477C07-F542-18DA-9568-C23804F78F40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039208" y="2898509"/>
              <a:ext cx="684758" cy="545375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11CA6AA3-02A6-A172-7B1A-CBD1B9D54D0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219220" y="2821295"/>
              <a:ext cx="254644" cy="605532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45" name="Straight Connector 144">
              <a:extLst>
                <a:ext uri="{FF2B5EF4-FFF2-40B4-BE49-F238E27FC236}">
                  <a16:creationId xmlns:a16="http://schemas.microsoft.com/office/drawing/2014/main" id="{5019AD16-ADB2-1810-2ACE-A7C1FFC23F0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56622" y="3777205"/>
              <a:ext cx="564063" cy="677692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2DE7BC73-2B3F-935D-A4F1-DC0E2D4D13D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429477" y="2398451"/>
              <a:ext cx="1149459" cy="13851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FBDE7421-C6D3-EDA2-E0F1-3FDAC8F26906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3946090" y="4221115"/>
              <a:ext cx="465229" cy="32165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A842594A-BF35-60F9-C858-66ADF655E19C}"/>
                </a:ext>
              </a:extLst>
            </p:cNvPr>
            <p:cNvSpPr/>
            <p:nvPr/>
          </p:nvSpPr>
          <p:spPr>
            <a:xfrm>
              <a:off x="412733" y="3030314"/>
              <a:ext cx="745294" cy="753243"/>
            </a:xfrm>
            <a:prstGeom prst="ellipse">
              <a:avLst/>
            </a:prstGeom>
            <a:noFill/>
            <a:ln w="28575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>
                <a:solidFill>
                  <a:prstClr val="white"/>
                </a:solidFill>
                <a:latin typeface="Ericsson Hilda Light" panose="00000400000000000000" pitchFamily="2" charset="0"/>
              </a:endParaRPr>
            </a:p>
          </p:txBody>
        </p: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1A10692B-0D75-A88A-00C9-5CD60B9ADED2}"/>
                </a:ext>
              </a:extLst>
            </p:cNvPr>
            <p:cNvSpPr/>
            <p:nvPr/>
          </p:nvSpPr>
          <p:spPr>
            <a:xfrm>
              <a:off x="3334871" y="4415477"/>
              <a:ext cx="745294" cy="753243"/>
            </a:xfrm>
            <a:prstGeom prst="ellipse">
              <a:avLst/>
            </a:prstGeom>
            <a:noFill/>
            <a:ln w="28575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>
                <a:solidFill>
                  <a:prstClr val="white"/>
                </a:solidFill>
                <a:latin typeface="Ericsson Hilda Light" panose="00000400000000000000" pitchFamily="2" charset="0"/>
              </a:endParaRP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F6D8B82D-F479-60BD-511C-9F5F2483B4D2}"/>
                </a:ext>
              </a:extLst>
            </p:cNvPr>
            <p:cNvSpPr txBox="1"/>
            <p:nvPr/>
          </p:nvSpPr>
          <p:spPr bwMode="auto">
            <a:xfrm>
              <a:off x="1147056" y="3068506"/>
              <a:ext cx="569008" cy="46090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buClr>
                  <a:srgbClr val="70AD47"/>
                </a:buClr>
                <a:defRPr/>
              </a:pPr>
              <a:r>
                <a:rPr lang="en-US" sz="1400">
                  <a:solidFill>
                    <a:srgbClr val="FF3232"/>
                  </a:solidFill>
                  <a:latin typeface="Ericsson Hilda Light" panose="00000400000000000000" pitchFamily="2" charset="0"/>
                </a:rPr>
                <a:t>Issue cell</a:t>
              </a: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1B04DE84-A820-EFEB-06B2-C564CC646023}"/>
                </a:ext>
              </a:extLst>
            </p:cNvPr>
            <p:cNvSpPr txBox="1"/>
            <p:nvPr/>
          </p:nvSpPr>
          <p:spPr bwMode="auto">
            <a:xfrm>
              <a:off x="2765299" y="4542765"/>
              <a:ext cx="570966" cy="47246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buClr>
                  <a:srgbClr val="70AD47"/>
                </a:buClr>
                <a:defRPr/>
              </a:pPr>
              <a:r>
                <a:rPr lang="en-US" sz="1400">
                  <a:solidFill>
                    <a:srgbClr val="FF3232"/>
                  </a:solidFill>
                  <a:latin typeface="Ericsson Hilda Light" panose="00000400000000000000" pitchFamily="2" charset="0"/>
                </a:rPr>
                <a:t>Issue cell</a:t>
              </a:r>
            </a:p>
          </p:txBody>
        </p:sp>
      </p:grp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C876C5E8-9B15-E8CB-553C-E8C9D5A4AE66}"/>
              </a:ext>
            </a:extLst>
          </p:cNvPr>
          <p:cNvGrpSpPr/>
          <p:nvPr/>
        </p:nvGrpSpPr>
        <p:grpSpPr>
          <a:xfrm>
            <a:off x="7783106" y="1270767"/>
            <a:ext cx="4285383" cy="4291108"/>
            <a:chOff x="7575483" y="1106724"/>
            <a:chExt cx="4285383" cy="4291108"/>
          </a:xfrm>
        </p:grpSpPr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67DC0947-DE32-A6D9-3012-AFB6B87F19B7}"/>
                </a:ext>
              </a:extLst>
            </p:cNvPr>
            <p:cNvSpPr txBox="1"/>
            <p:nvPr/>
          </p:nvSpPr>
          <p:spPr bwMode="auto">
            <a:xfrm>
              <a:off x="8754219" y="1106724"/>
              <a:ext cx="2184990" cy="39215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2000" dirty="0">
                  <a:solidFill>
                    <a:srgbClr val="181818"/>
                  </a:solidFill>
                  <a:latin typeface="Ericsson Hilda Light" panose="00000400000000000000" pitchFamily="2" charset="0"/>
                </a:rPr>
                <a:t>Predicted UL SINR</a:t>
              </a:r>
            </a:p>
          </p:txBody>
        </p: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ACF905FC-833D-B93A-882B-8C14CCCEA94B}"/>
                </a:ext>
              </a:extLst>
            </p:cNvPr>
            <p:cNvSpPr txBox="1"/>
            <p:nvPr/>
          </p:nvSpPr>
          <p:spPr bwMode="auto">
            <a:xfrm>
              <a:off x="9108524" y="1899874"/>
              <a:ext cx="345882" cy="25977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00B050"/>
                  </a:solidFill>
                  <a:latin typeface="Ericsson Hilda Light" panose="00000400000000000000" pitchFamily="2" charset="0"/>
                </a:rPr>
                <a:t>20</a:t>
              </a:r>
            </a:p>
          </p:txBody>
        </p: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5BD03632-FCD5-6C3F-9C6F-97EECECD784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192275" y="3557756"/>
              <a:ext cx="1326034" cy="215924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B9CF6782-141F-5427-F193-8A29B6E9C20E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9157495" y="4048450"/>
              <a:ext cx="551090" cy="324118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0023880A-AE0F-4F65-BCD1-958B41BBD89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137891" y="3877234"/>
              <a:ext cx="1231392" cy="8899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999272FD-DA2E-B8D8-0842-B80130A4672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017828" y="4082188"/>
              <a:ext cx="551629" cy="440222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3220405C-E251-88DB-6767-51740B5FE1D4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10195636" y="2902556"/>
              <a:ext cx="684758" cy="545375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424D02DA-A5A9-5865-4C25-769F7C61F60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9375648" y="2825342"/>
              <a:ext cx="254644" cy="605532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A8766200-8A7B-3230-014A-87380301124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013050" y="3781252"/>
              <a:ext cx="564063" cy="677692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2B152E68-044D-6F66-0B68-049397F14A2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9585905" y="2402498"/>
              <a:ext cx="1149459" cy="13851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AA3CBA03-8C30-F0AE-AA34-32C46146B273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1102518" y="4225162"/>
              <a:ext cx="465229" cy="32165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77684E09-D120-6191-74F4-92E944998D32}"/>
                </a:ext>
              </a:extLst>
            </p:cNvPr>
            <p:cNvSpPr txBox="1"/>
            <p:nvPr/>
          </p:nvSpPr>
          <p:spPr bwMode="auto">
            <a:xfrm>
              <a:off x="10929577" y="2080701"/>
              <a:ext cx="345882" cy="25977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00B050"/>
                  </a:solidFill>
                  <a:latin typeface="Ericsson Hilda Light" panose="00000400000000000000" pitchFamily="2" charset="0"/>
                </a:rPr>
                <a:t>18</a:t>
              </a:r>
            </a:p>
          </p:txBody>
        </p:sp>
        <p:sp>
          <p:nvSpPr>
            <p:cNvPr id="165" name="TextBox 164">
              <a:extLst>
                <a:ext uri="{FF2B5EF4-FFF2-40B4-BE49-F238E27FC236}">
                  <a16:creationId xmlns:a16="http://schemas.microsoft.com/office/drawing/2014/main" id="{17CFB097-E280-23B7-EB9A-D88BF9520D1F}"/>
                </a:ext>
              </a:extLst>
            </p:cNvPr>
            <p:cNvSpPr txBox="1"/>
            <p:nvPr/>
          </p:nvSpPr>
          <p:spPr bwMode="auto">
            <a:xfrm>
              <a:off x="7774646" y="2835046"/>
              <a:ext cx="345882" cy="25977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FF0000"/>
                  </a:solidFill>
                  <a:latin typeface="Ericsson Hilda Light" panose="00000400000000000000" pitchFamily="2" charset="0"/>
                </a:rPr>
                <a:t>10</a:t>
              </a:r>
            </a:p>
          </p:txBody>
        </p:sp>
        <p:sp>
          <p:nvSpPr>
            <p:cNvPr id="166" name="TextBox 165">
              <a:extLst>
                <a:ext uri="{FF2B5EF4-FFF2-40B4-BE49-F238E27FC236}">
                  <a16:creationId xmlns:a16="http://schemas.microsoft.com/office/drawing/2014/main" id="{F75A4CBE-A90D-955D-6A0F-8725757DAA45}"/>
                </a:ext>
              </a:extLst>
            </p:cNvPr>
            <p:cNvSpPr txBox="1"/>
            <p:nvPr/>
          </p:nvSpPr>
          <p:spPr bwMode="auto">
            <a:xfrm>
              <a:off x="8771683" y="4929022"/>
              <a:ext cx="345882" cy="25977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00B050"/>
                  </a:solidFill>
                  <a:latin typeface="Ericsson Hilda Light" panose="00000400000000000000" pitchFamily="2" charset="0"/>
                </a:rPr>
                <a:t>21</a:t>
              </a:r>
            </a:p>
          </p:txBody>
        </p:sp>
        <p:sp>
          <p:nvSpPr>
            <p:cNvPr id="167" name="TextBox 166">
              <a:extLst>
                <a:ext uri="{FF2B5EF4-FFF2-40B4-BE49-F238E27FC236}">
                  <a16:creationId xmlns:a16="http://schemas.microsoft.com/office/drawing/2014/main" id="{8AA5B9C7-9C4D-53F0-8FE6-E6C9C6219D38}"/>
                </a:ext>
              </a:extLst>
            </p:cNvPr>
            <p:cNvSpPr txBox="1"/>
            <p:nvPr/>
          </p:nvSpPr>
          <p:spPr bwMode="auto">
            <a:xfrm>
              <a:off x="10766213" y="5138058"/>
              <a:ext cx="222124" cy="25977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FF0000"/>
                  </a:solidFill>
                  <a:latin typeface="Ericsson Hilda Light" panose="00000400000000000000" pitchFamily="2" charset="0"/>
                </a:rPr>
                <a:t>8</a:t>
              </a:r>
            </a:p>
          </p:txBody>
        </p:sp>
        <p:sp>
          <p:nvSpPr>
            <p:cNvPr id="168" name="TextBox 167">
              <a:extLst>
                <a:ext uri="{FF2B5EF4-FFF2-40B4-BE49-F238E27FC236}">
                  <a16:creationId xmlns:a16="http://schemas.microsoft.com/office/drawing/2014/main" id="{B900C149-967E-9493-ED4A-EFD7F7332441}"/>
                </a:ext>
              </a:extLst>
            </p:cNvPr>
            <p:cNvSpPr txBox="1"/>
            <p:nvPr/>
          </p:nvSpPr>
          <p:spPr bwMode="auto">
            <a:xfrm>
              <a:off x="11514984" y="3281956"/>
              <a:ext cx="345882" cy="25977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00B050"/>
                  </a:solidFill>
                  <a:latin typeface="Ericsson Hilda Light" panose="00000400000000000000" pitchFamily="2" charset="0"/>
                </a:rPr>
                <a:t>17</a:t>
              </a:r>
            </a:p>
          </p:txBody>
        </p: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AC6625DD-315A-0763-F222-9A134F5530E9}"/>
                </a:ext>
              </a:extLst>
            </p:cNvPr>
            <p:cNvSpPr txBox="1"/>
            <p:nvPr/>
          </p:nvSpPr>
          <p:spPr bwMode="auto">
            <a:xfrm>
              <a:off x="9731273" y="3171196"/>
              <a:ext cx="345882" cy="25977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72000" tIns="36000" rIns="73152" bIns="3657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buClr>
                  <a:srgbClr val="181818"/>
                </a:buClr>
                <a:defRPr/>
              </a:pPr>
              <a:r>
                <a:rPr lang="en-US" sz="1400">
                  <a:solidFill>
                    <a:srgbClr val="00B050"/>
                  </a:solidFill>
                  <a:latin typeface="Ericsson Hilda Light" panose="00000400000000000000" pitchFamily="2" charset="0"/>
                </a:rPr>
                <a:t>17</a:t>
              </a:r>
            </a:p>
          </p:txBody>
        </p:sp>
        <p:sp>
          <p:nvSpPr>
            <p:cNvPr id="170" name="Oval 169">
              <a:extLst>
                <a:ext uri="{FF2B5EF4-FFF2-40B4-BE49-F238E27FC236}">
                  <a16:creationId xmlns:a16="http://schemas.microsoft.com/office/drawing/2014/main" id="{6BC28CD0-5C84-1500-4F67-AA21EFDDDA7C}"/>
                </a:ext>
              </a:extLst>
            </p:cNvPr>
            <p:cNvSpPr/>
            <p:nvPr/>
          </p:nvSpPr>
          <p:spPr>
            <a:xfrm>
              <a:off x="7575483" y="3065147"/>
              <a:ext cx="745294" cy="677693"/>
            </a:xfrm>
            <a:prstGeom prst="ellipse">
              <a:avLst/>
            </a:prstGeom>
            <a:noFill/>
            <a:ln w="28575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>
                <a:solidFill>
                  <a:prstClr val="white"/>
                </a:solidFill>
                <a:latin typeface="Ericsson Hilda Light" panose="00000400000000000000" pitchFamily="2" charset="0"/>
              </a:endParaRPr>
            </a:p>
          </p:txBody>
        </p:sp>
        <p:sp>
          <p:nvSpPr>
            <p:cNvPr id="171" name="Oval 170">
              <a:extLst>
                <a:ext uri="{FF2B5EF4-FFF2-40B4-BE49-F238E27FC236}">
                  <a16:creationId xmlns:a16="http://schemas.microsoft.com/office/drawing/2014/main" id="{9ED9FAED-EB17-F330-2F59-91BBE70CF31D}"/>
                </a:ext>
              </a:extLst>
            </p:cNvPr>
            <p:cNvSpPr/>
            <p:nvPr/>
          </p:nvSpPr>
          <p:spPr>
            <a:xfrm>
              <a:off x="10504628" y="4454068"/>
              <a:ext cx="745294" cy="677693"/>
            </a:xfrm>
            <a:prstGeom prst="ellipse">
              <a:avLst/>
            </a:prstGeom>
            <a:noFill/>
            <a:ln w="28575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>
                <a:solidFill>
                  <a:prstClr val="white"/>
                </a:solidFill>
                <a:latin typeface="Ericsson Hilda Light" panose="00000400000000000000" pitchFamily="2" charset="0"/>
              </a:endParaRPr>
            </a:p>
          </p:txBody>
        </p:sp>
      </p:grpSp>
      <p:sp>
        <p:nvSpPr>
          <p:cNvPr id="172" name="Oval 171">
            <a:extLst>
              <a:ext uri="{FF2B5EF4-FFF2-40B4-BE49-F238E27FC236}">
                <a16:creationId xmlns:a16="http://schemas.microsoft.com/office/drawing/2014/main" id="{DAF54E5C-DFEB-3E2E-D8FD-DA8F2B394B54}"/>
              </a:ext>
            </a:extLst>
          </p:cNvPr>
          <p:cNvSpPr/>
          <p:nvPr/>
        </p:nvSpPr>
        <p:spPr>
          <a:xfrm>
            <a:off x="9739189" y="3564859"/>
            <a:ext cx="745295" cy="677693"/>
          </a:xfrm>
          <a:prstGeom prst="ellipse">
            <a:avLst/>
          </a:prstGeom>
          <a:noFill/>
          <a:ln w="28575">
            <a:solidFill>
              <a:srgbClr val="7030A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>
              <a:solidFill>
                <a:prstClr val="white"/>
              </a:solidFill>
              <a:latin typeface="Ericsson Hilda Light" panose="00000400000000000000" pitchFamily="2" charset="0"/>
            </a:endParaRPr>
          </a:p>
        </p:txBody>
      </p:sp>
      <p:sp>
        <p:nvSpPr>
          <p:cNvPr id="173" name="Hexagon 172">
            <a:extLst>
              <a:ext uri="{FF2B5EF4-FFF2-40B4-BE49-F238E27FC236}">
                <a16:creationId xmlns:a16="http://schemas.microsoft.com/office/drawing/2014/main" id="{653FF6DE-B6A9-0A59-AC48-5C4FFB3E497F}"/>
              </a:ext>
            </a:extLst>
          </p:cNvPr>
          <p:cNvSpPr/>
          <p:nvPr/>
        </p:nvSpPr>
        <p:spPr bwMode="auto">
          <a:xfrm>
            <a:off x="5281088" y="3216668"/>
            <a:ext cx="1933303" cy="1750219"/>
          </a:xfrm>
          <a:prstGeom prst="hexagon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9996" indent="-179996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</a:endParaRPr>
          </a:p>
        </p:txBody>
      </p: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485AB684-0A93-A500-9956-8AB6C49D41D6}"/>
              </a:ext>
            </a:extLst>
          </p:cNvPr>
          <p:cNvGrpSpPr/>
          <p:nvPr/>
        </p:nvGrpSpPr>
        <p:grpSpPr>
          <a:xfrm>
            <a:off x="5499818" y="3419549"/>
            <a:ext cx="1491712" cy="1420997"/>
            <a:chOff x="7277410" y="1749031"/>
            <a:chExt cx="1491712" cy="1420997"/>
          </a:xfrm>
        </p:grpSpPr>
        <p:grpSp>
          <p:nvGrpSpPr>
            <p:cNvPr id="175" name="Group 174">
              <a:extLst>
                <a:ext uri="{FF2B5EF4-FFF2-40B4-BE49-F238E27FC236}">
                  <a16:creationId xmlns:a16="http://schemas.microsoft.com/office/drawing/2014/main" id="{DF51CCF2-150E-2AEE-C95B-688237E04A9C}"/>
                </a:ext>
              </a:extLst>
            </p:cNvPr>
            <p:cNvGrpSpPr/>
            <p:nvPr/>
          </p:nvGrpSpPr>
          <p:grpSpPr>
            <a:xfrm>
              <a:off x="7864258" y="2289200"/>
              <a:ext cx="318016" cy="318016"/>
              <a:chOff x="7864258" y="2289200"/>
              <a:chExt cx="318016" cy="318016"/>
            </a:xfrm>
          </p:grpSpPr>
          <p:sp>
            <p:nvSpPr>
              <p:cNvPr id="196" name="Oval 195">
                <a:extLst>
                  <a:ext uri="{FF2B5EF4-FFF2-40B4-BE49-F238E27FC236}">
                    <a16:creationId xmlns:a16="http://schemas.microsoft.com/office/drawing/2014/main" id="{60F7F3D7-ADFC-D6F5-6060-F62106BF700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949243" y="2377440"/>
                <a:ext cx="148046" cy="141537"/>
              </a:xfrm>
              <a:prstGeom prst="ellipse">
                <a:avLst/>
              </a:prstGeom>
              <a:solidFill>
                <a:srgbClr val="FF3232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9996" indent="-179996">
                  <a:spcBef>
                    <a:spcPts val="800"/>
                  </a:spcBef>
                  <a:buFont typeface="Ericsson Hilda" panose="00000500000000000000" pitchFamily="2" charset="0"/>
                  <a:buChar char="●"/>
                </a:pPr>
                <a:endParaRPr lang="en-US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97" name="Oval 196">
                <a:extLst>
                  <a:ext uri="{FF2B5EF4-FFF2-40B4-BE49-F238E27FC236}">
                    <a16:creationId xmlns:a16="http://schemas.microsoft.com/office/drawing/2014/main" id="{79AB250A-E7B5-2E2F-F356-011A295BEE2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864258" y="2289200"/>
                <a:ext cx="318016" cy="318016"/>
              </a:xfrm>
              <a:prstGeom prst="ellipse">
                <a:avLst/>
              </a:prstGeom>
              <a:noFill/>
              <a:ln w="12700" cap="flat" cmpd="tri" algn="ctr">
                <a:solidFill>
                  <a:schemeClr val="accent1"/>
                </a:solidFill>
                <a:prstDash val="dashDot"/>
                <a:round/>
                <a:headEnd type="none" w="med" len="med"/>
                <a:tailEnd type="none" w="med" len="med"/>
                <a:extLst>
                  <a:ext uri="{C807C97D-BFC1-408E-A445-0C87EB9F89A2}">
                    <ask:lineSketchStyleProps xmlns:ask="http://schemas.microsoft.com/office/drawing/2018/sketchyshapes" sd="1219033472">
                      <a:custGeom>
                        <a:avLst/>
                        <a:gdLst>
                          <a:gd name="connsiteX0" fmla="*/ 0 w 1653046"/>
                          <a:gd name="connsiteY0" fmla="*/ 826523 h 1653046"/>
                          <a:gd name="connsiteX1" fmla="*/ 826523 w 1653046"/>
                          <a:gd name="connsiteY1" fmla="*/ 0 h 1653046"/>
                          <a:gd name="connsiteX2" fmla="*/ 1653046 w 1653046"/>
                          <a:gd name="connsiteY2" fmla="*/ 826523 h 1653046"/>
                          <a:gd name="connsiteX3" fmla="*/ 826523 w 1653046"/>
                          <a:gd name="connsiteY3" fmla="*/ 1653046 h 1653046"/>
                          <a:gd name="connsiteX4" fmla="*/ 0 w 1653046"/>
                          <a:gd name="connsiteY4" fmla="*/ 826523 h 165304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653046" h="1653046" extrusionOk="0">
                            <a:moveTo>
                              <a:pt x="0" y="826523"/>
                            </a:moveTo>
                            <a:cubicBezTo>
                              <a:pt x="-67347" y="328506"/>
                              <a:pt x="250094" y="45020"/>
                              <a:pt x="826523" y="0"/>
                            </a:cubicBezTo>
                            <a:cubicBezTo>
                              <a:pt x="1294882" y="2502"/>
                              <a:pt x="1534548" y="373815"/>
                              <a:pt x="1653046" y="826523"/>
                            </a:cubicBezTo>
                            <a:cubicBezTo>
                              <a:pt x="1592839" y="1341795"/>
                              <a:pt x="1261235" y="1773343"/>
                              <a:pt x="826523" y="1653046"/>
                            </a:cubicBezTo>
                            <a:cubicBezTo>
                              <a:pt x="268099" y="1597268"/>
                              <a:pt x="117048" y="1338926"/>
                              <a:pt x="0" y="826523"/>
                            </a:cubicBezTo>
                            <a:close/>
                          </a:path>
                        </a:pathLst>
                      </a:custGeom>
                      <ask:type>
                        <ask:lineSketchNone/>
                      </ask:type>
                    </ask:lineSketchStyleProps>
                  </a:ext>
                </a:extLst>
              </a:ln>
              <a:effectLst/>
            </p:spPr>
            <p:txBody>
  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9996" indent="-179996">
                  <a:spcBef>
                    <a:spcPts val="800"/>
                  </a:spcBef>
                  <a:buFont typeface="Ericsson Hilda" panose="00000500000000000000" pitchFamily="2" charset="0"/>
                  <a:buChar char="●"/>
                </a:pPr>
                <a:endParaRPr lang="en-US" err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76" name="Group 175">
              <a:extLst>
                <a:ext uri="{FF2B5EF4-FFF2-40B4-BE49-F238E27FC236}">
                  <a16:creationId xmlns:a16="http://schemas.microsoft.com/office/drawing/2014/main" id="{8F45015C-B099-EAC1-5585-8990BE175012}"/>
                </a:ext>
              </a:extLst>
            </p:cNvPr>
            <p:cNvGrpSpPr/>
            <p:nvPr/>
          </p:nvGrpSpPr>
          <p:grpSpPr>
            <a:xfrm>
              <a:off x="8379703" y="1799030"/>
              <a:ext cx="318016" cy="318016"/>
              <a:chOff x="7864258" y="2289200"/>
              <a:chExt cx="318016" cy="318016"/>
            </a:xfrm>
          </p:grpSpPr>
          <p:sp>
            <p:nvSpPr>
              <p:cNvPr id="194" name="Oval 193">
                <a:extLst>
                  <a:ext uri="{FF2B5EF4-FFF2-40B4-BE49-F238E27FC236}">
                    <a16:creationId xmlns:a16="http://schemas.microsoft.com/office/drawing/2014/main" id="{123C086D-B0B1-7A91-88C7-8EDA5BF3B84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949243" y="2377440"/>
                <a:ext cx="148046" cy="141537"/>
              </a:xfrm>
              <a:prstGeom prst="ellipse">
                <a:avLst/>
              </a:prstGeom>
              <a:solidFill>
                <a:srgbClr val="0082F0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9996" indent="-179996">
                  <a:spcBef>
                    <a:spcPts val="800"/>
                  </a:spcBef>
                  <a:buFont typeface="Ericsson Hilda" panose="00000500000000000000" pitchFamily="2" charset="0"/>
                  <a:buChar char="●"/>
                </a:pPr>
                <a:endParaRPr lang="en-US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95" name="Oval 194">
                <a:extLst>
                  <a:ext uri="{FF2B5EF4-FFF2-40B4-BE49-F238E27FC236}">
                    <a16:creationId xmlns:a16="http://schemas.microsoft.com/office/drawing/2014/main" id="{A9D7C595-41A8-9BBE-98D5-E51BCF85DE7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864258" y="2289200"/>
                <a:ext cx="318016" cy="318016"/>
              </a:xfrm>
              <a:prstGeom prst="ellipse">
                <a:avLst/>
              </a:prstGeom>
              <a:noFill/>
              <a:ln w="12700" cap="flat" cmpd="tri" algn="ctr">
                <a:solidFill>
                  <a:schemeClr val="accent1"/>
                </a:solidFill>
                <a:prstDash val="dashDot"/>
                <a:round/>
                <a:headEnd type="none" w="med" len="med"/>
                <a:tailEnd type="none" w="med" len="med"/>
                <a:extLst>
                  <a:ext uri="{C807C97D-BFC1-408E-A445-0C87EB9F89A2}">
                    <ask:lineSketchStyleProps xmlns:ask="http://schemas.microsoft.com/office/drawing/2018/sketchyshapes" sd="1219033472">
                      <a:custGeom>
                        <a:avLst/>
                        <a:gdLst>
                          <a:gd name="connsiteX0" fmla="*/ 0 w 1653046"/>
                          <a:gd name="connsiteY0" fmla="*/ 826523 h 1653046"/>
                          <a:gd name="connsiteX1" fmla="*/ 826523 w 1653046"/>
                          <a:gd name="connsiteY1" fmla="*/ 0 h 1653046"/>
                          <a:gd name="connsiteX2" fmla="*/ 1653046 w 1653046"/>
                          <a:gd name="connsiteY2" fmla="*/ 826523 h 1653046"/>
                          <a:gd name="connsiteX3" fmla="*/ 826523 w 1653046"/>
                          <a:gd name="connsiteY3" fmla="*/ 1653046 h 1653046"/>
                          <a:gd name="connsiteX4" fmla="*/ 0 w 1653046"/>
                          <a:gd name="connsiteY4" fmla="*/ 826523 h 165304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653046" h="1653046" extrusionOk="0">
                            <a:moveTo>
                              <a:pt x="0" y="826523"/>
                            </a:moveTo>
                            <a:cubicBezTo>
                              <a:pt x="-67347" y="328506"/>
                              <a:pt x="250094" y="45020"/>
                              <a:pt x="826523" y="0"/>
                            </a:cubicBezTo>
                            <a:cubicBezTo>
                              <a:pt x="1294882" y="2502"/>
                              <a:pt x="1534548" y="373815"/>
                              <a:pt x="1653046" y="826523"/>
                            </a:cubicBezTo>
                            <a:cubicBezTo>
                              <a:pt x="1592839" y="1341795"/>
                              <a:pt x="1261235" y="1773343"/>
                              <a:pt x="826523" y="1653046"/>
                            </a:cubicBezTo>
                            <a:cubicBezTo>
                              <a:pt x="268099" y="1597268"/>
                              <a:pt x="117048" y="1338926"/>
                              <a:pt x="0" y="826523"/>
                            </a:cubicBezTo>
                            <a:close/>
                          </a:path>
                        </a:pathLst>
                      </a:custGeom>
                      <ask:type>
                        <ask:lineSketchNone/>
                      </ask:type>
                    </ask:lineSketchStyleProps>
                  </a:ext>
                </a:extLst>
              </a:ln>
              <a:effectLst/>
            </p:spPr>
            <p:txBody>
  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9996" indent="-179996">
                  <a:spcBef>
                    <a:spcPts val="800"/>
                  </a:spcBef>
                  <a:buFont typeface="Ericsson Hilda" panose="00000500000000000000" pitchFamily="2" charset="0"/>
                  <a:buChar char="●"/>
                </a:pPr>
                <a:endParaRPr lang="en-US" err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77" name="Group 176">
              <a:extLst>
                <a:ext uri="{FF2B5EF4-FFF2-40B4-BE49-F238E27FC236}">
                  <a16:creationId xmlns:a16="http://schemas.microsoft.com/office/drawing/2014/main" id="{F9D9E419-61F3-9140-531C-6255A5A94B7D}"/>
                </a:ext>
              </a:extLst>
            </p:cNvPr>
            <p:cNvGrpSpPr/>
            <p:nvPr/>
          </p:nvGrpSpPr>
          <p:grpSpPr>
            <a:xfrm>
              <a:off x="8451106" y="2289200"/>
              <a:ext cx="318016" cy="318016"/>
              <a:chOff x="7864258" y="2289200"/>
              <a:chExt cx="318016" cy="318016"/>
            </a:xfrm>
          </p:grpSpPr>
          <p:sp>
            <p:nvSpPr>
              <p:cNvPr id="192" name="Oval 191">
                <a:extLst>
                  <a:ext uri="{FF2B5EF4-FFF2-40B4-BE49-F238E27FC236}">
                    <a16:creationId xmlns:a16="http://schemas.microsoft.com/office/drawing/2014/main" id="{3D526CA6-2763-3F09-13A2-3789096CA80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949243" y="2377440"/>
                <a:ext cx="148046" cy="141537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9996" indent="-179996">
                  <a:spcBef>
                    <a:spcPts val="800"/>
                  </a:spcBef>
                  <a:buFont typeface="Ericsson Hilda" panose="00000500000000000000" pitchFamily="2" charset="0"/>
                  <a:buChar char="●"/>
                </a:pPr>
                <a:endParaRPr lang="en-US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93" name="Oval 192">
                <a:extLst>
                  <a:ext uri="{FF2B5EF4-FFF2-40B4-BE49-F238E27FC236}">
                    <a16:creationId xmlns:a16="http://schemas.microsoft.com/office/drawing/2014/main" id="{C6B4CCCD-6125-7847-F5F6-8E62DDA20CD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864258" y="2289200"/>
                <a:ext cx="318016" cy="318016"/>
              </a:xfrm>
              <a:prstGeom prst="ellipse">
                <a:avLst/>
              </a:prstGeom>
              <a:noFill/>
              <a:ln w="12700" cap="flat" cmpd="tri" algn="ctr">
                <a:solidFill>
                  <a:schemeClr val="accent1"/>
                </a:solidFill>
                <a:prstDash val="dashDot"/>
                <a:round/>
                <a:headEnd type="none" w="med" len="med"/>
                <a:tailEnd type="none" w="med" len="med"/>
                <a:extLst>
                  <a:ext uri="{C807C97D-BFC1-408E-A445-0C87EB9F89A2}">
                    <ask:lineSketchStyleProps xmlns:ask="http://schemas.microsoft.com/office/drawing/2018/sketchyshapes" sd="1219033472">
                      <a:custGeom>
                        <a:avLst/>
                        <a:gdLst>
                          <a:gd name="connsiteX0" fmla="*/ 0 w 1653046"/>
                          <a:gd name="connsiteY0" fmla="*/ 826523 h 1653046"/>
                          <a:gd name="connsiteX1" fmla="*/ 826523 w 1653046"/>
                          <a:gd name="connsiteY1" fmla="*/ 0 h 1653046"/>
                          <a:gd name="connsiteX2" fmla="*/ 1653046 w 1653046"/>
                          <a:gd name="connsiteY2" fmla="*/ 826523 h 1653046"/>
                          <a:gd name="connsiteX3" fmla="*/ 826523 w 1653046"/>
                          <a:gd name="connsiteY3" fmla="*/ 1653046 h 1653046"/>
                          <a:gd name="connsiteX4" fmla="*/ 0 w 1653046"/>
                          <a:gd name="connsiteY4" fmla="*/ 826523 h 165304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653046" h="1653046" extrusionOk="0">
                            <a:moveTo>
                              <a:pt x="0" y="826523"/>
                            </a:moveTo>
                            <a:cubicBezTo>
                              <a:pt x="-67347" y="328506"/>
                              <a:pt x="250094" y="45020"/>
                              <a:pt x="826523" y="0"/>
                            </a:cubicBezTo>
                            <a:cubicBezTo>
                              <a:pt x="1294882" y="2502"/>
                              <a:pt x="1534548" y="373815"/>
                              <a:pt x="1653046" y="826523"/>
                            </a:cubicBezTo>
                            <a:cubicBezTo>
                              <a:pt x="1592839" y="1341795"/>
                              <a:pt x="1261235" y="1773343"/>
                              <a:pt x="826523" y="1653046"/>
                            </a:cubicBezTo>
                            <a:cubicBezTo>
                              <a:pt x="268099" y="1597268"/>
                              <a:pt x="117048" y="1338926"/>
                              <a:pt x="0" y="826523"/>
                            </a:cubicBezTo>
                            <a:close/>
                          </a:path>
                        </a:pathLst>
                      </a:custGeom>
                      <ask:type>
                        <ask:lineSketchNone/>
                      </ask:type>
                    </ask:lineSketchStyleProps>
                  </a:ext>
                </a:extLst>
              </a:ln>
              <a:effectLst/>
            </p:spPr>
            <p:txBody>
  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9996" indent="-179996">
                  <a:spcBef>
                    <a:spcPts val="800"/>
                  </a:spcBef>
                  <a:buFont typeface="Ericsson Hilda" panose="00000500000000000000" pitchFamily="2" charset="0"/>
                  <a:buChar char="●"/>
                </a:pPr>
                <a:endParaRPr lang="en-US" err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78" name="Group 177">
              <a:extLst>
                <a:ext uri="{FF2B5EF4-FFF2-40B4-BE49-F238E27FC236}">
                  <a16:creationId xmlns:a16="http://schemas.microsoft.com/office/drawing/2014/main" id="{421C96B6-0027-0D04-DC58-70CE961B22E2}"/>
                </a:ext>
              </a:extLst>
            </p:cNvPr>
            <p:cNvGrpSpPr/>
            <p:nvPr/>
          </p:nvGrpSpPr>
          <p:grpSpPr>
            <a:xfrm>
              <a:off x="7867030" y="2852012"/>
              <a:ext cx="318016" cy="318016"/>
              <a:chOff x="7864258" y="2289200"/>
              <a:chExt cx="318016" cy="318016"/>
            </a:xfrm>
          </p:grpSpPr>
          <p:sp>
            <p:nvSpPr>
              <p:cNvPr id="190" name="Oval 189">
                <a:extLst>
                  <a:ext uri="{FF2B5EF4-FFF2-40B4-BE49-F238E27FC236}">
                    <a16:creationId xmlns:a16="http://schemas.microsoft.com/office/drawing/2014/main" id="{8E557B28-9B64-1C60-C48E-7EBA82833C5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949243" y="2377440"/>
                <a:ext cx="148046" cy="141537"/>
              </a:xfrm>
              <a:prstGeom prst="ellipse">
                <a:avLst/>
              </a:prstGeom>
              <a:solidFill>
                <a:srgbClr val="0082F0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9996" indent="-179996">
                  <a:spcBef>
                    <a:spcPts val="800"/>
                  </a:spcBef>
                  <a:buFont typeface="Ericsson Hilda" panose="00000500000000000000" pitchFamily="2" charset="0"/>
                  <a:buChar char="●"/>
                </a:pPr>
                <a:endParaRPr lang="en-US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91" name="Oval 190">
                <a:extLst>
                  <a:ext uri="{FF2B5EF4-FFF2-40B4-BE49-F238E27FC236}">
                    <a16:creationId xmlns:a16="http://schemas.microsoft.com/office/drawing/2014/main" id="{80D6A1D9-D228-3234-F391-179C6CD6213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864258" y="2289200"/>
                <a:ext cx="318016" cy="318016"/>
              </a:xfrm>
              <a:prstGeom prst="ellipse">
                <a:avLst/>
              </a:prstGeom>
              <a:noFill/>
              <a:ln w="12700" cap="flat" cmpd="tri" algn="ctr">
                <a:solidFill>
                  <a:schemeClr val="accent1"/>
                </a:solidFill>
                <a:prstDash val="dashDot"/>
                <a:round/>
                <a:headEnd type="none" w="med" len="med"/>
                <a:tailEnd type="none" w="med" len="med"/>
                <a:extLst>
                  <a:ext uri="{C807C97D-BFC1-408E-A445-0C87EB9F89A2}">
                    <ask:lineSketchStyleProps xmlns:ask="http://schemas.microsoft.com/office/drawing/2018/sketchyshapes" sd="1219033472">
                      <a:custGeom>
                        <a:avLst/>
                        <a:gdLst>
                          <a:gd name="connsiteX0" fmla="*/ 0 w 1653046"/>
                          <a:gd name="connsiteY0" fmla="*/ 826523 h 1653046"/>
                          <a:gd name="connsiteX1" fmla="*/ 826523 w 1653046"/>
                          <a:gd name="connsiteY1" fmla="*/ 0 h 1653046"/>
                          <a:gd name="connsiteX2" fmla="*/ 1653046 w 1653046"/>
                          <a:gd name="connsiteY2" fmla="*/ 826523 h 1653046"/>
                          <a:gd name="connsiteX3" fmla="*/ 826523 w 1653046"/>
                          <a:gd name="connsiteY3" fmla="*/ 1653046 h 1653046"/>
                          <a:gd name="connsiteX4" fmla="*/ 0 w 1653046"/>
                          <a:gd name="connsiteY4" fmla="*/ 826523 h 165304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653046" h="1653046" extrusionOk="0">
                            <a:moveTo>
                              <a:pt x="0" y="826523"/>
                            </a:moveTo>
                            <a:cubicBezTo>
                              <a:pt x="-67347" y="328506"/>
                              <a:pt x="250094" y="45020"/>
                              <a:pt x="826523" y="0"/>
                            </a:cubicBezTo>
                            <a:cubicBezTo>
                              <a:pt x="1294882" y="2502"/>
                              <a:pt x="1534548" y="373815"/>
                              <a:pt x="1653046" y="826523"/>
                            </a:cubicBezTo>
                            <a:cubicBezTo>
                              <a:pt x="1592839" y="1341795"/>
                              <a:pt x="1261235" y="1773343"/>
                              <a:pt x="826523" y="1653046"/>
                            </a:cubicBezTo>
                            <a:cubicBezTo>
                              <a:pt x="268099" y="1597268"/>
                              <a:pt x="117048" y="1338926"/>
                              <a:pt x="0" y="826523"/>
                            </a:cubicBezTo>
                            <a:close/>
                          </a:path>
                        </a:pathLst>
                      </a:custGeom>
                      <ask:type>
                        <ask:lineSketchNone/>
                      </ask:type>
                    </ask:lineSketchStyleProps>
                  </a:ext>
                </a:extLst>
              </a:ln>
              <a:effectLst/>
            </p:spPr>
            <p:txBody>
  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9996" indent="-179996">
                  <a:spcBef>
                    <a:spcPts val="800"/>
                  </a:spcBef>
                  <a:buFont typeface="Ericsson Hilda" panose="00000500000000000000" pitchFamily="2" charset="0"/>
                  <a:buChar char="●"/>
                </a:pPr>
                <a:endParaRPr lang="en-US" err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79" name="Group 178">
              <a:extLst>
                <a:ext uri="{FF2B5EF4-FFF2-40B4-BE49-F238E27FC236}">
                  <a16:creationId xmlns:a16="http://schemas.microsoft.com/office/drawing/2014/main" id="{74E5CE87-F80D-B829-4E49-E3EC6997D1E0}"/>
                </a:ext>
              </a:extLst>
            </p:cNvPr>
            <p:cNvGrpSpPr/>
            <p:nvPr/>
          </p:nvGrpSpPr>
          <p:grpSpPr>
            <a:xfrm>
              <a:off x="7277410" y="2241178"/>
              <a:ext cx="318016" cy="318016"/>
              <a:chOff x="7864258" y="2289200"/>
              <a:chExt cx="318016" cy="318016"/>
            </a:xfrm>
          </p:grpSpPr>
          <p:sp>
            <p:nvSpPr>
              <p:cNvPr id="188" name="Oval 187">
                <a:extLst>
                  <a:ext uri="{FF2B5EF4-FFF2-40B4-BE49-F238E27FC236}">
                    <a16:creationId xmlns:a16="http://schemas.microsoft.com/office/drawing/2014/main" id="{0D963A25-3A13-E710-3EFE-43904C34B8D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949243" y="2377440"/>
                <a:ext cx="148046" cy="141537"/>
              </a:xfrm>
              <a:prstGeom prst="ellipse">
                <a:avLst/>
              </a:prstGeom>
              <a:solidFill>
                <a:srgbClr val="0082F0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9996" indent="-179996">
                  <a:spcBef>
                    <a:spcPts val="800"/>
                  </a:spcBef>
                  <a:buFont typeface="Ericsson Hilda" panose="00000500000000000000" pitchFamily="2" charset="0"/>
                  <a:buChar char="●"/>
                </a:pPr>
                <a:endParaRPr lang="en-US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89" name="Oval 188">
                <a:extLst>
                  <a:ext uri="{FF2B5EF4-FFF2-40B4-BE49-F238E27FC236}">
                    <a16:creationId xmlns:a16="http://schemas.microsoft.com/office/drawing/2014/main" id="{04824B8C-6CB9-9E61-E5FB-B2FFF447884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864258" y="2289200"/>
                <a:ext cx="318016" cy="318016"/>
              </a:xfrm>
              <a:prstGeom prst="ellipse">
                <a:avLst/>
              </a:prstGeom>
              <a:noFill/>
              <a:ln w="12700" cap="flat" cmpd="tri" algn="ctr">
                <a:solidFill>
                  <a:schemeClr val="accent1"/>
                </a:solidFill>
                <a:prstDash val="dashDot"/>
                <a:round/>
                <a:headEnd type="none" w="med" len="med"/>
                <a:tailEnd type="none" w="med" len="med"/>
                <a:extLst>
                  <a:ext uri="{C807C97D-BFC1-408E-A445-0C87EB9F89A2}">
                    <ask:lineSketchStyleProps xmlns:ask="http://schemas.microsoft.com/office/drawing/2018/sketchyshapes" sd="1219033472">
                      <a:custGeom>
                        <a:avLst/>
                        <a:gdLst>
                          <a:gd name="connsiteX0" fmla="*/ 0 w 1653046"/>
                          <a:gd name="connsiteY0" fmla="*/ 826523 h 1653046"/>
                          <a:gd name="connsiteX1" fmla="*/ 826523 w 1653046"/>
                          <a:gd name="connsiteY1" fmla="*/ 0 h 1653046"/>
                          <a:gd name="connsiteX2" fmla="*/ 1653046 w 1653046"/>
                          <a:gd name="connsiteY2" fmla="*/ 826523 h 1653046"/>
                          <a:gd name="connsiteX3" fmla="*/ 826523 w 1653046"/>
                          <a:gd name="connsiteY3" fmla="*/ 1653046 h 1653046"/>
                          <a:gd name="connsiteX4" fmla="*/ 0 w 1653046"/>
                          <a:gd name="connsiteY4" fmla="*/ 826523 h 165304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653046" h="1653046" extrusionOk="0">
                            <a:moveTo>
                              <a:pt x="0" y="826523"/>
                            </a:moveTo>
                            <a:cubicBezTo>
                              <a:pt x="-67347" y="328506"/>
                              <a:pt x="250094" y="45020"/>
                              <a:pt x="826523" y="0"/>
                            </a:cubicBezTo>
                            <a:cubicBezTo>
                              <a:pt x="1294882" y="2502"/>
                              <a:pt x="1534548" y="373815"/>
                              <a:pt x="1653046" y="826523"/>
                            </a:cubicBezTo>
                            <a:cubicBezTo>
                              <a:pt x="1592839" y="1341795"/>
                              <a:pt x="1261235" y="1773343"/>
                              <a:pt x="826523" y="1653046"/>
                            </a:cubicBezTo>
                            <a:cubicBezTo>
                              <a:pt x="268099" y="1597268"/>
                              <a:pt x="117048" y="1338926"/>
                              <a:pt x="0" y="826523"/>
                            </a:cubicBezTo>
                            <a:close/>
                          </a:path>
                        </a:pathLst>
                      </a:custGeom>
                      <ask:type>
                        <ask:lineSketchNone/>
                      </ask:type>
                    </ask:lineSketchStyleProps>
                  </a:ext>
                </a:extLst>
              </a:ln>
              <a:effectLst/>
            </p:spPr>
            <p:txBody>
  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9996" indent="-179996">
                  <a:spcBef>
                    <a:spcPts val="800"/>
                  </a:spcBef>
                  <a:buFont typeface="Ericsson Hilda" panose="00000500000000000000" pitchFamily="2" charset="0"/>
                  <a:buChar char="●"/>
                </a:pPr>
                <a:endParaRPr lang="en-US" err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80" name="Group 179">
              <a:extLst>
                <a:ext uri="{FF2B5EF4-FFF2-40B4-BE49-F238E27FC236}">
                  <a16:creationId xmlns:a16="http://schemas.microsoft.com/office/drawing/2014/main" id="{144085B4-2664-4894-45EC-6A1DFE014903}"/>
                </a:ext>
              </a:extLst>
            </p:cNvPr>
            <p:cNvGrpSpPr/>
            <p:nvPr/>
          </p:nvGrpSpPr>
          <p:grpSpPr>
            <a:xfrm>
              <a:off x="7413017" y="1749031"/>
              <a:ext cx="318016" cy="318016"/>
              <a:chOff x="7864258" y="2289200"/>
              <a:chExt cx="318016" cy="318016"/>
            </a:xfrm>
          </p:grpSpPr>
          <p:sp>
            <p:nvSpPr>
              <p:cNvPr id="186" name="Oval 185">
                <a:extLst>
                  <a:ext uri="{FF2B5EF4-FFF2-40B4-BE49-F238E27FC236}">
                    <a16:creationId xmlns:a16="http://schemas.microsoft.com/office/drawing/2014/main" id="{73BC3FE5-6CF3-DC37-F511-EB656FA0D12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949243" y="2377440"/>
                <a:ext cx="148046" cy="141537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9996" indent="-179996">
                  <a:spcBef>
                    <a:spcPts val="800"/>
                  </a:spcBef>
                  <a:buFont typeface="Ericsson Hilda" panose="00000500000000000000" pitchFamily="2" charset="0"/>
                  <a:buChar char="●"/>
                </a:pPr>
                <a:endParaRPr lang="en-US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87" name="Oval 186">
                <a:extLst>
                  <a:ext uri="{FF2B5EF4-FFF2-40B4-BE49-F238E27FC236}">
                    <a16:creationId xmlns:a16="http://schemas.microsoft.com/office/drawing/2014/main" id="{BE327FAF-1F46-4E68-31D9-45D8A99F299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864258" y="2289200"/>
                <a:ext cx="318016" cy="318016"/>
              </a:xfrm>
              <a:prstGeom prst="ellipse">
                <a:avLst/>
              </a:prstGeom>
              <a:noFill/>
              <a:ln w="12700" cap="flat" cmpd="tri" algn="ctr">
                <a:solidFill>
                  <a:schemeClr val="accent1"/>
                </a:solidFill>
                <a:prstDash val="dashDot"/>
                <a:round/>
                <a:headEnd type="none" w="med" len="med"/>
                <a:tailEnd type="none" w="med" len="med"/>
                <a:extLst>
                  <a:ext uri="{C807C97D-BFC1-408E-A445-0C87EB9F89A2}">
                    <ask:lineSketchStyleProps xmlns:ask="http://schemas.microsoft.com/office/drawing/2018/sketchyshapes" sd="1219033472">
                      <a:custGeom>
                        <a:avLst/>
                        <a:gdLst>
                          <a:gd name="connsiteX0" fmla="*/ 0 w 1653046"/>
                          <a:gd name="connsiteY0" fmla="*/ 826523 h 1653046"/>
                          <a:gd name="connsiteX1" fmla="*/ 826523 w 1653046"/>
                          <a:gd name="connsiteY1" fmla="*/ 0 h 1653046"/>
                          <a:gd name="connsiteX2" fmla="*/ 1653046 w 1653046"/>
                          <a:gd name="connsiteY2" fmla="*/ 826523 h 1653046"/>
                          <a:gd name="connsiteX3" fmla="*/ 826523 w 1653046"/>
                          <a:gd name="connsiteY3" fmla="*/ 1653046 h 1653046"/>
                          <a:gd name="connsiteX4" fmla="*/ 0 w 1653046"/>
                          <a:gd name="connsiteY4" fmla="*/ 826523 h 165304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653046" h="1653046" extrusionOk="0">
                            <a:moveTo>
                              <a:pt x="0" y="826523"/>
                            </a:moveTo>
                            <a:cubicBezTo>
                              <a:pt x="-67347" y="328506"/>
                              <a:pt x="250094" y="45020"/>
                              <a:pt x="826523" y="0"/>
                            </a:cubicBezTo>
                            <a:cubicBezTo>
                              <a:pt x="1294882" y="2502"/>
                              <a:pt x="1534548" y="373815"/>
                              <a:pt x="1653046" y="826523"/>
                            </a:cubicBezTo>
                            <a:cubicBezTo>
                              <a:pt x="1592839" y="1341795"/>
                              <a:pt x="1261235" y="1773343"/>
                              <a:pt x="826523" y="1653046"/>
                            </a:cubicBezTo>
                            <a:cubicBezTo>
                              <a:pt x="268099" y="1597268"/>
                              <a:pt x="117048" y="1338926"/>
                              <a:pt x="0" y="826523"/>
                            </a:cubicBezTo>
                            <a:close/>
                          </a:path>
                        </a:pathLst>
                      </a:custGeom>
                      <ask:type>
                        <ask:lineSketchNone/>
                      </ask:type>
                    </ask:lineSketchStyleProps>
                  </a:ext>
                </a:extLst>
              </a:ln>
              <a:effectLst/>
            </p:spPr>
            <p:txBody>
    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9996" indent="-179996">
                  <a:spcBef>
                    <a:spcPts val="800"/>
                  </a:spcBef>
                  <a:buFont typeface="Ericsson Hilda" panose="00000500000000000000" pitchFamily="2" charset="0"/>
                  <a:buChar char="●"/>
                </a:pPr>
                <a:endParaRPr lang="en-US" err="1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93CE82E2-B12B-DEEC-D914-CBF778650FF6}"/>
                </a:ext>
              </a:extLst>
            </p:cNvPr>
            <p:cNvCxnSpPr>
              <a:stCxn id="197" idx="7"/>
              <a:endCxn id="195" idx="3"/>
            </p:cNvCxnSpPr>
            <p:nvPr/>
          </p:nvCxnSpPr>
          <p:spPr bwMode="auto">
            <a:xfrm flipV="1">
              <a:off x="8135702" y="2070474"/>
              <a:ext cx="290573" cy="265298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82" name="Straight Connector 181">
              <a:extLst>
                <a:ext uri="{FF2B5EF4-FFF2-40B4-BE49-F238E27FC236}">
                  <a16:creationId xmlns:a16="http://schemas.microsoft.com/office/drawing/2014/main" id="{F7A9A6BE-DDF6-A395-3CF3-06D5FCA42770}"/>
                </a:ext>
              </a:extLst>
            </p:cNvPr>
            <p:cNvCxnSpPr>
              <a:stCxn id="197" idx="2"/>
              <a:endCxn id="189" idx="6"/>
            </p:cNvCxnSpPr>
            <p:nvPr/>
          </p:nvCxnSpPr>
          <p:spPr bwMode="auto">
            <a:xfrm flipH="1" flipV="1">
              <a:off x="7595426" y="2400186"/>
              <a:ext cx="268832" cy="48022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2FBE0031-24DA-E553-21AD-2386C2D77974}"/>
                </a:ext>
              </a:extLst>
            </p:cNvPr>
            <p:cNvCxnSpPr>
              <a:stCxn id="197" idx="4"/>
              <a:endCxn id="191" idx="0"/>
            </p:cNvCxnSpPr>
            <p:nvPr/>
          </p:nvCxnSpPr>
          <p:spPr bwMode="auto">
            <a:xfrm>
              <a:off x="8023266" y="2607216"/>
              <a:ext cx="2772" cy="244796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3C911883-8EAB-8994-914B-722CACE17D39}"/>
                </a:ext>
              </a:extLst>
            </p:cNvPr>
            <p:cNvCxnSpPr>
              <a:cxnSpLocks/>
              <a:stCxn id="197" idx="6"/>
              <a:endCxn id="193" idx="2"/>
            </p:cNvCxnSpPr>
            <p:nvPr/>
          </p:nvCxnSpPr>
          <p:spPr bwMode="auto">
            <a:xfrm>
              <a:off x="8182274" y="2448208"/>
              <a:ext cx="268832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ysDot"/>
              <a:round/>
              <a:headEnd type="none" w="med" len="med"/>
              <a:tailEnd type="none"/>
            </a:ln>
            <a:effectLst/>
          </p:spPr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9ECB83AF-F0F4-1207-8B9F-E6336606751B}"/>
                </a:ext>
              </a:extLst>
            </p:cNvPr>
            <p:cNvCxnSpPr>
              <a:stCxn id="197" idx="1"/>
              <a:endCxn id="187" idx="5"/>
            </p:cNvCxnSpPr>
            <p:nvPr/>
          </p:nvCxnSpPr>
          <p:spPr bwMode="auto">
            <a:xfrm flipH="1" flipV="1">
              <a:off x="7684461" y="2020475"/>
              <a:ext cx="226369" cy="315297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ysDash"/>
              <a:round/>
              <a:headEnd type="none" w="med" len="med"/>
              <a:tailEnd type="none"/>
            </a:ln>
            <a:effectLst/>
          </p:spPr>
        </p:cxnSp>
      </p:grpSp>
      <p:sp>
        <p:nvSpPr>
          <p:cNvPr id="198" name="TextBox 197">
            <a:extLst>
              <a:ext uri="{FF2B5EF4-FFF2-40B4-BE49-F238E27FC236}">
                <a16:creationId xmlns:a16="http://schemas.microsoft.com/office/drawing/2014/main" id="{D2F7C6D9-96AD-24F2-7812-412011511ADB}"/>
              </a:ext>
            </a:extLst>
          </p:cNvPr>
          <p:cNvSpPr txBox="1"/>
          <p:nvPr/>
        </p:nvSpPr>
        <p:spPr>
          <a:xfrm>
            <a:off x="4981283" y="2752495"/>
            <a:ext cx="25329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 err="1"/>
              <a:t>Trained</a:t>
            </a:r>
            <a:r>
              <a:rPr lang="es-ES" dirty="0"/>
              <a:t> BGNN </a:t>
            </a:r>
            <a:r>
              <a:rPr lang="es-ES" dirty="0" err="1"/>
              <a:t>Model</a:t>
            </a:r>
            <a:endParaRPr lang="es-ES" dirty="0"/>
          </a:p>
        </p:txBody>
      </p:sp>
      <p:pic>
        <p:nvPicPr>
          <p:cNvPr id="199" name="Graphic 198" descr="Cell Tower with solid fill">
            <a:extLst>
              <a:ext uri="{FF2B5EF4-FFF2-40B4-BE49-F238E27FC236}">
                <a16:creationId xmlns:a16="http://schemas.microsoft.com/office/drawing/2014/main" id="{FD94A006-C113-00CB-A06E-713F07F0FE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2094" y="3291316"/>
            <a:ext cx="505656" cy="542127"/>
          </a:xfrm>
          <a:prstGeom prst="rect">
            <a:avLst/>
          </a:prstGeom>
        </p:spPr>
      </p:pic>
      <p:pic>
        <p:nvPicPr>
          <p:cNvPr id="200" name="Graphic 199" descr="Cell Tower with solid fill">
            <a:extLst>
              <a:ext uri="{FF2B5EF4-FFF2-40B4-BE49-F238E27FC236}">
                <a16:creationId xmlns:a16="http://schemas.microsoft.com/office/drawing/2014/main" id="{DBAF1938-62C4-4B65-3B00-993FEF8520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88954" y="4456464"/>
            <a:ext cx="505656" cy="542127"/>
          </a:xfrm>
          <a:prstGeom prst="rect">
            <a:avLst/>
          </a:prstGeom>
        </p:spPr>
      </p:pic>
      <p:pic>
        <p:nvPicPr>
          <p:cNvPr id="201" name="Graphic 200" descr="Cell Tower with solid fill">
            <a:extLst>
              <a:ext uri="{FF2B5EF4-FFF2-40B4-BE49-F238E27FC236}">
                <a16:creationId xmlns:a16="http://schemas.microsoft.com/office/drawing/2014/main" id="{223B5890-2802-25E3-49F2-4523CB5722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34382" y="3602579"/>
            <a:ext cx="505656" cy="542127"/>
          </a:xfrm>
          <a:prstGeom prst="rect">
            <a:avLst/>
          </a:prstGeom>
        </p:spPr>
      </p:pic>
      <p:pic>
        <p:nvPicPr>
          <p:cNvPr id="202" name="Graphic 201" descr="Cell Tower with solid fill">
            <a:extLst>
              <a:ext uri="{FF2B5EF4-FFF2-40B4-BE49-F238E27FC236}">
                <a16:creationId xmlns:a16="http://schemas.microsoft.com/office/drawing/2014/main" id="{DE040A10-56EA-AE98-67A7-0EBF0A8513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32068" y="4676112"/>
            <a:ext cx="505656" cy="542127"/>
          </a:xfrm>
          <a:prstGeom prst="rect">
            <a:avLst/>
          </a:prstGeom>
        </p:spPr>
      </p:pic>
      <p:pic>
        <p:nvPicPr>
          <p:cNvPr id="203" name="Graphic 202" descr="Cell Tower with solid fill">
            <a:extLst>
              <a:ext uri="{FF2B5EF4-FFF2-40B4-BE49-F238E27FC236}">
                <a16:creationId xmlns:a16="http://schemas.microsoft.com/office/drawing/2014/main" id="{300D6D3B-7DAE-69BA-9A1F-D61A15D778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7174" y="3622086"/>
            <a:ext cx="505656" cy="542127"/>
          </a:xfrm>
          <a:prstGeom prst="rect">
            <a:avLst/>
          </a:prstGeom>
        </p:spPr>
      </p:pic>
      <p:pic>
        <p:nvPicPr>
          <p:cNvPr id="204" name="Graphic 203" descr="Cell Tower with solid fill">
            <a:extLst>
              <a:ext uri="{FF2B5EF4-FFF2-40B4-BE49-F238E27FC236}">
                <a16:creationId xmlns:a16="http://schemas.microsoft.com/office/drawing/2014/main" id="{E560122C-A4FE-0937-5910-854A0A45CF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8430" y="3301979"/>
            <a:ext cx="505656" cy="542127"/>
          </a:xfrm>
          <a:prstGeom prst="rect">
            <a:avLst/>
          </a:prstGeom>
        </p:spPr>
      </p:pic>
      <p:pic>
        <p:nvPicPr>
          <p:cNvPr id="205" name="Graphic 204" descr="Cell Tower with solid fill">
            <a:extLst>
              <a:ext uri="{FF2B5EF4-FFF2-40B4-BE49-F238E27FC236}">
                <a16:creationId xmlns:a16="http://schemas.microsoft.com/office/drawing/2014/main" id="{8ED86644-6F2B-5C7E-DE3C-5BCDBC2BED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44292" y="3808735"/>
            <a:ext cx="505656" cy="542127"/>
          </a:xfrm>
          <a:prstGeom prst="rect">
            <a:avLst/>
          </a:prstGeom>
        </p:spPr>
      </p:pic>
      <p:pic>
        <p:nvPicPr>
          <p:cNvPr id="206" name="Graphic 205" descr="Cell Tower with solid fill">
            <a:extLst>
              <a:ext uri="{FF2B5EF4-FFF2-40B4-BE49-F238E27FC236}">
                <a16:creationId xmlns:a16="http://schemas.microsoft.com/office/drawing/2014/main" id="{41B20F42-B367-81D4-1685-38F6C94FD6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67676" y="4643506"/>
            <a:ext cx="505656" cy="542127"/>
          </a:xfrm>
          <a:prstGeom prst="rect">
            <a:avLst/>
          </a:prstGeom>
        </p:spPr>
      </p:pic>
      <p:pic>
        <p:nvPicPr>
          <p:cNvPr id="207" name="Graphic 206" descr="Cell Tower with solid fill">
            <a:extLst>
              <a:ext uri="{FF2B5EF4-FFF2-40B4-BE49-F238E27FC236}">
                <a16:creationId xmlns:a16="http://schemas.microsoft.com/office/drawing/2014/main" id="{6B706FAB-2896-6F71-3A4B-A5AA6E831C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92975" y="2372258"/>
            <a:ext cx="505656" cy="542127"/>
          </a:xfrm>
          <a:prstGeom prst="rect">
            <a:avLst/>
          </a:prstGeom>
        </p:spPr>
      </p:pic>
      <p:pic>
        <p:nvPicPr>
          <p:cNvPr id="208" name="Graphic 207" descr="Cell Tower with solid fill">
            <a:extLst>
              <a:ext uri="{FF2B5EF4-FFF2-40B4-BE49-F238E27FC236}">
                <a16:creationId xmlns:a16="http://schemas.microsoft.com/office/drawing/2014/main" id="{D473F1BD-AB12-F03E-5AD4-9134F84373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40372" y="2495610"/>
            <a:ext cx="505656" cy="542127"/>
          </a:xfrm>
          <a:prstGeom prst="rect">
            <a:avLst/>
          </a:prstGeom>
        </p:spPr>
      </p:pic>
      <p:pic>
        <p:nvPicPr>
          <p:cNvPr id="209" name="Graphic 208" descr="Cell Tower with solid fill">
            <a:extLst>
              <a:ext uri="{FF2B5EF4-FFF2-40B4-BE49-F238E27FC236}">
                <a16:creationId xmlns:a16="http://schemas.microsoft.com/office/drawing/2014/main" id="{054AD2E1-E4F4-0949-B9F6-7234D04167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15824" y="2344940"/>
            <a:ext cx="505656" cy="542127"/>
          </a:xfrm>
          <a:prstGeom prst="rect">
            <a:avLst/>
          </a:prstGeom>
        </p:spPr>
      </p:pic>
      <p:pic>
        <p:nvPicPr>
          <p:cNvPr id="210" name="Graphic 209" descr="Cell Tower with solid fill">
            <a:extLst>
              <a:ext uri="{FF2B5EF4-FFF2-40B4-BE49-F238E27FC236}">
                <a16:creationId xmlns:a16="http://schemas.microsoft.com/office/drawing/2014/main" id="{58F2B6D1-CCEA-E45C-C825-309448D639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622715" y="3757072"/>
            <a:ext cx="505656" cy="542127"/>
          </a:xfrm>
          <a:prstGeom prst="rect">
            <a:avLst/>
          </a:prstGeom>
        </p:spPr>
      </p:pic>
      <p:pic>
        <p:nvPicPr>
          <p:cNvPr id="211" name="Graphic 210" descr="Cell Tower with solid fill">
            <a:extLst>
              <a:ext uri="{FF2B5EF4-FFF2-40B4-BE49-F238E27FC236}">
                <a16:creationId xmlns:a16="http://schemas.microsoft.com/office/drawing/2014/main" id="{97C0505F-8710-1C1C-DF71-C211E2813B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07594" y="4542259"/>
            <a:ext cx="505656" cy="542127"/>
          </a:xfrm>
          <a:prstGeom prst="rect">
            <a:avLst/>
          </a:prstGeom>
        </p:spPr>
      </p:pic>
      <p:pic>
        <p:nvPicPr>
          <p:cNvPr id="212" name="Graphic 211" descr="Cell Tower with solid fill">
            <a:extLst>
              <a:ext uri="{FF2B5EF4-FFF2-40B4-BE49-F238E27FC236}">
                <a16:creationId xmlns:a16="http://schemas.microsoft.com/office/drawing/2014/main" id="{373250C7-4EC2-C5B1-836F-91700359C6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67012" y="2498394"/>
            <a:ext cx="505656" cy="542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1163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8" grpId="0"/>
      <p:bldP spid="125" grpId="0"/>
      <p:bldP spid="172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5FEE73-2D61-E0ED-48BC-BF3B0FA7DD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l Production Result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5303598-B4F3-A666-C0B5-0EB0F25471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70077" y="1658210"/>
            <a:ext cx="9327160" cy="4336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56473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35CA64-8528-FEDC-0C08-806D48013C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o we a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1282F78-7DFA-51D1-5325-4D306720E6B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26870"/>
          <a:stretch/>
        </p:blipFill>
        <p:spPr>
          <a:xfrm>
            <a:off x="536141" y="1557338"/>
            <a:ext cx="11119718" cy="401242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9BFE6A7-8C67-ABEB-9A4F-D4DA5352C184}"/>
              </a:ext>
            </a:extLst>
          </p:cNvPr>
          <p:cNvSpPr txBox="1"/>
          <p:nvPr/>
        </p:nvSpPr>
        <p:spPr>
          <a:xfrm>
            <a:off x="479424" y="6261652"/>
            <a:ext cx="5901497" cy="258418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sz="1400" b="0" i="0" u="none" strike="noStrike" kern="1000" cap="none" spc="-3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https://ericsson.github.io/cognitive-labs/</a:t>
            </a:r>
          </a:p>
        </p:txBody>
      </p:sp>
    </p:spTree>
    <p:extLst>
      <p:ext uri="{BB962C8B-B14F-4D97-AF65-F5344CB8AC3E}">
        <p14:creationId xmlns:p14="http://schemas.microsoft.com/office/powerpoint/2010/main" val="205584675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E0EE4F-3000-927C-3CDB-6296960C4C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E58850-F4A1-D07C-0233-D4EE5758F0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eight Uncertainty in Neural Networks</a:t>
            </a:r>
          </a:p>
          <a:p>
            <a:r>
              <a:rPr lang="en-US" dirty="0"/>
              <a:t>https://pytorch-geometric.readthedocs.io/en/latest/</a:t>
            </a:r>
          </a:p>
          <a:p>
            <a:r>
              <a:rPr lang="en-US" dirty="0"/>
              <a:t>https://graph-neural-networks.github.io/</a:t>
            </a:r>
          </a:p>
          <a:p>
            <a:r>
              <a:rPr lang="en-US" dirty="0"/>
              <a:t>https://medium.com/towards-data-science/do-we-need-deep-graph-neural-networks-be62d3ec5c59</a:t>
            </a:r>
          </a:p>
          <a:p>
            <a:r>
              <a:rPr lang="en-US" dirty="0"/>
              <a:t>Journal of Advances in Modeling Earth System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5481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ackground pattern&#10;&#10;Description automatically generated with medium confidence">
            <a:extLst>
              <a:ext uri="{FF2B5EF4-FFF2-40B4-BE49-F238E27FC236}">
                <a16:creationId xmlns:a16="http://schemas.microsoft.com/office/drawing/2014/main" id="{39B628E1-BFC8-940F-19C5-7CC8A17236D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2" descr="Ericsson logo in transparent PNG and vectorized SVG formats">
            <a:extLst>
              <a:ext uri="{FF2B5EF4-FFF2-40B4-BE49-F238E27FC236}">
                <a16:creationId xmlns:a16="http://schemas.microsoft.com/office/drawing/2014/main" id="{8C235722-54FE-A752-441A-E6442002CD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5315" y="2655191"/>
            <a:ext cx="1141369" cy="1547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54966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C80E2B-E7C0-DE19-EF90-2BFB2DA5B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ical Neural Networks</a:t>
            </a:r>
          </a:p>
        </p:txBody>
      </p:sp>
      <p:pic>
        <p:nvPicPr>
          <p:cNvPr id="4098" name="Picture 2" descr="Neural networks – TikZ.net">
            <a:extLst>
              <a:ext uri="{FF2B5EF4-FFF2-40B4-BE49-F238E27FC236}">
                <a16:creationId xmlns:a16="http://schemas.microsoft.com/office/drawing/2014/main" id="{282CDCBD-DD81-7C81-1545-33645A5226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3157" y="1835378"/>
            <a:ext cx="5325686" cy="3799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35870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E94010-4C29-40F3-18E6-11602177C1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NN vs BNN</a:t>
            </a:r>
            <a:endParaRPr lang="en-US" dirty="0"/>
          </a:p>
        </p:txBody>
      </p:sp>
      <p:pic>
        <p:nvPicPr>
          <p:cNvPr id="4" name="Picture 2" descr="Why You Should Use Bayesian Neural Network | by Yeung WONG | Towards Data  Science">
            <a:extLst>
              <a:ext uri="{FF2B5EF4-FFF2-40B4-BE49-F238E27FC236}">
                <a16:creationId xmlns:a16="http://schemas.microsoft.com/office/drawing/2014/main" id="{2471F9A8-D5A3-A1F2-A490-24A603E3E2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1073" y="2319304"/>
            <a:ext cx="7532121" cy="3540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10724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C571377E-2A4A-C733-FD71-9717309A81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524" y="2093951"/>
            <a:ext cx="10196689" cy="3246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10224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288812-DD60-07AE-412C-E6D8933CA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ensure the shape of the distributions?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D6E1604-56F8-9999-0229-A0CA21312C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94221" y="3888509"/>
            <a:ext cx="4488996" cy="858676"/>
          </a:xfrm>
          <a:prstGeom prst="rect">
            <a:avLst/>
          </a:prstGeom>
        </p:spPr>
      </p:pic>
      <p:pic>
        <p:nvPicPr>
          <p:cNvPr id="4098" name="Picture 2" descr="KL Divergence Simplified: A Basic Overview | by Okan Yenigün | Stackademic">
            <a:extLst>
              <a:ext uri="{FF2B5EF4-FFF2-40B4-BE49-F238E27FC236}">
                <a16:creationId xmlns:a16="http://schemas.microsoft.com/office/drawing/2014/main" id="{0BC2BCE1-BCAD-3834-898E-1EDC2C1A37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240" y="2660497"/>
            <a:ext cx="5892800" cy="3314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62642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71AD3B-9545-8BD3-090C-A171761596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parameterization trick</a:t>
            </a:r>
          </a:p>
        </p:txBody>
      </p:sp>
      <p:pic>
        <p:nvPicPr>
          <p:cNvPr id="5132" name="Picture 12" descr="02456-deep-learning-with-PyTorch/7_Unsupervised/7.2-EXE-variational-autoencoder.ipynb  at master · DeepLearningDTU/02456-deep-learning-with-PyTorch · GitHub">
            <a:extLst>
              <a:ext uri="{FF2B5EF4-FFF2-40B4-BE49-F238E27FC236}">
                <a16:creationId xmlns:a16="http://schemas.microsoft.com/office/drawing/2014/main" id="{AD883B84-28C9-099B-D53C-F91546E3A6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1824" y="2285999"/>
            <a:ext cx="7599009" cy="414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90238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2576C6-A7C2-7364-D6B6-4C4EE845A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parameterization trick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080736F4-7FC9-20F0-36B8-9436B254CA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702" y="2605660"/>
            <a:ext cx="8616043" cy="3579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78029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7730BA-69A4-1974-415B-00BEF5032E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in proces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C1DEBEE-2300-CD55-84B4-B20154151C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11472" y="1983920"/>
            <a:ext cx="4768546" cy="4649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88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1WwThpRzCJ81zv9Sor1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oycpbcRQKV.kcVtHP8X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ruydkVSfmc3s5RwcMDD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rnCUyXTJC6yU3zoRGx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XFqgehTTK3rHwWHnTG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BrI8i3QU6G1aTo11e4v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BrI8i3QU6G1aTo11e4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RJtcxQR.6yVGd6mOjTJ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qnPOw7TZ6aM20URuer2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FcLw8RDi7SILoFNMqW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2uYXleTbW.hcCVuIOJ.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1WwThpRzCJ81zv9Sor1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oycpbcRQKV.kcVtHP8X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ruydkVSfmc3s5RwcMDD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rnCUyXTJC6yU3zoRGxA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XFqgehTTK3rHwWHnTGh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BrI8i3QU6G1aTo11e4v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RJtcxQR.6yVGd6mOjTJ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8002003546907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zSDrGIT5SUl.SQtAzfm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FcLw8RDi7SILoFNMqW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2uYXleTbW.hcCVuIOJ.A"/>
</p:tagLst>
</file>

<file path=ppt/theme/theme1.xml><?xml version="1.0" encoding="utf-8"?>
<a:theme xmlns:a="http://schemas.openxmlformats.org/drawingml/2006/main" name="PresentationTemplate2021">
  <a:themeElements>
    <a:clrScheme name="Ericsson">
      <a:dk1>
        <a:srgbClr val="181818"/>
      </a:dk1>
      <a:lt1>
        <a:srgbClr val="FFFFFF"/>
      </a:lt1>
      <a:dk2>
        <a:srgbClr val="181818"/>
      </a:dk2>
      <a:lt2>
        <a:srgbClr val="E0E0E0"/>
      </a:lt2>
      <a:accent1>
        <a:srgbClr val="0082F0"/>
      </a:accent1>
      <a:accent2>
        <a:srgbClr val="0FC373"/>
      </a:accent2>
      <a:accent3>
        <a:srgbClr val="AF78D2"/>
      </a:accent3>
      <a:accent4>
        <a:srgbClr val="FAD22D"/>
      </a:accent4>
      <a:accent5>
        <a:srgbClr val="FF8C0A"/>
      </a:accent5>
      <a:accent6>
        <a:srgbClr val="FF3232"/>
      </a:accent6>
      <a:hlink>
        <a:srgbClr val="0082F0"/>
      </a:hlink>
      <a:folHlink>
        <a:srgbClr val="040969"/>
      </a:folHlink>
    </a:clrScheme>
    <a:fontScheme name="Ericsson">
      <a:majorFont>
        <a:latin typeface="Ericsson Hilda Light"/>
        <a:ea typeface=""/>
        <a:cs typeface=""/>
      </a:majorFont>
      <a:minorFont>
        <a:latin typeface="Ericsson Hild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<a:prstTxWarp prst="textNoShape">
          <a:avLst/>
        </a:prstTxWarp>
        <a:noAutofit/>
      </a:bodyPr>
      <a:lstStyle>
        <a:defPPr marL="180000" indent="-180000" algn="l">
          <a:spcBef>
            <a:spcPts val="800"/>
          </a:spcBef>
          <a:buFont typeface="Ericsson Hilda" panose="00000500000000000000" pitchFamily="2" charset="0"/>
          <a:buChar char="●"/>
          <a:defRPr dirty="0" err="1" smtClean="0">
            <a:solidFill>
              <a:srgbClr val="FFFFFF"/>
            </a:solidFill>
            <a:latin typeface="+mn-lt"/>
          </a:defRPr>
        </a:defPPr>
      </a:lstStyle>
    </a:spDef>
    <a:ln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/>
      <a:bodyPr vert="horz" wrap="square" lIns="72000" tIns="36000" rIns="72000" bIns="36000" rtlCol="0" anchor="t">
        <a:noAutofit/>
      </a:bodyPr>
      <a:lstStyle>
        <a:defPPr marL="180000" marR="0" indent="-180000" algn="l" defTabSz="914400" rtl="0" eaLnBrk="1" fontAlgn="base" latinLnBrk="0" hangingPunct="1">
          <a:lnSpc>
            <a:spcPct val="100000"/>
          </a:lnSpc>
          <a:spcBef>
            <a:spcPts val="800"/>
          </a:spcBef>
          <a:spcAft>
            <a:spcPct val="0"/>
          </a:spcAft>
          <a:buClrTx/>
          <a:buSzTx/>
          <a:buFont typeface="Ericsson Hilda" panose="00000500000000000000" pitchFamily="2" charset="0"/>
          <a:buChar char="●"/>
          <a:tabLst/>
          <a:defRPr kumimoji="0" sz="2000" b="0" i="0" u="none" strike="noStrike" kern="1000" cap="none" spc="-3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Ericsson Hilda"/>
            <a:ea typeface="+mn-ea"/>
            <a:cs typeface="+mn-cs"/>
          </a:defRPr>
        </a:defPPr>
      </a:lstStyle>
    </a:txDef>
  </a:objectDefaults>
  <a:extraClrSchemeLst>
    <a:extraClrScheme>
      <a:clrScheme name="Landscape2009 1">
        <a:dk1>
          <a:srgbClr val="58585A"/>
        </a:dk1>
        <a:lt1>
          <a:srgbClr val="FFFFFF"/>
        </a:lt1>
        <a:dk2>
          <a:srgbClr val="00285E"/>
        </a:dk2>
        <a:lt2>
          <a:srgbClr val="B1B3B4"/>
        </a:lt2>
        <a:accent1>
          <a:srgbClr val="89BA17"/>
        </a:accent1>
        <a:accent2>
          <a:srgbClr val="F08A00"/>
        </a:accent2>
        <a:accent3>
          <a:srgbClr val="FFFFFF"/>
        </a:accent3>
        <a:accent4>
          <a:srgbClr val="4A4A4C"/>
        </a:accent4>
        <a:accent5>
          <a:srgbClr val="C4D9AB"/>
        </a:accent5>
        <a:accent6>
          <a:srgbClr val="D97D00"/>
        </a:accent6>
        <a:hlink>
          <a:srgbClr val="00A9D4"/>
        </a:hlink>
        <a:folHlink>
          <a:srgbClr val="0062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Primary Ericsson Blue 1">
      <a:srgbClr val="000082"/>
    </a:custClr>
    <a:custClr name="Primary Ericsson Blue 2">
      <a:srgbClr val="0050CA"/>
    </a:custClr>
    <a:custClr name="Primary Ericsson Blue">
      <a:srgbClr val="0082F0"/>
    </a:custClr>
    <a:custClr name="Primary Ericsson Blue 3">
      <a:srgbClr val="48A8FA"/>
    </a:custClr>
    <a:custClr name="Primary Ericsson Blue 4">
      <a:srgbClr val="85CCFF"/>
    </a:custClr>
    <a:custClr name="Secondary Ericsson Green">
      <a:srgbClr val="0FC373"/>
    </a:custClr>
    <a:custClr name="Secondary Ericsson Purple">
      <a:srgbClr val="AF78D2"/>
    </a:custClr>
    <a:custClr name="Secondary Ericsson Yellow">
      <a:srgbClr val="FAD22D"/>
    </a:custClr>
    <a:custClr name="Secondary Ericsson Orange">
      <a:srgbClr val="FF8C0A"/>
    </a:custClr>
    <a:custClr name="Secondary Ericsson Red">
      <a:srgbClr val="FF3232"/>
    </a:custClr>
    <a:custClr name="Secondary Ericsson Black">
      <a:srgbClr val="000000"/>
    </a:custClr>
    <a:custClr name="Secondary Ericsson Gray 1">
      <a:srgbClr val="242424"/>
    </a:custClr>
    <a:custClr name="Secondary Ericsson Gray 2">
      <a:srgbClr val="767676"/>
    </a:custClr>
    <a:custClr name="Secondary Ericsson Gray 3">
      <a:srgbClr val="A0A0A0"/>
    </a:custClr>
    <a:custClr name="Secondary Ericsson Gray 4">
      <a:srgbClr val="E0E0E0"/>
    </a:custClr>
    <a:custClr name="Secondary Ericsson Gray 5">
      <a:srgbClr val="F2F2F2"/>
    </a:custClr>
    <a:custClr name="Secondary Ericsson White">
      <a:srgbClr val="FFFFFF"/>
    </a:custClr>
  </a:custClrLst>
  <a:extLst>
    <a:ext uri="{05A4C25C-085E-4340-85A3-A5531E510DB2}">
      <thm15:themeFamily xmlns:thm15="http://schemas.microsoft.com/office/thememl/2012/main" name="PresentationTemplate2017.potx" id="{775AD81A-0AF6-45CB-889B-779F764C8091}" vid="{622262D2-9439-4A46-819E-379D679C1385}"/>
    </a:ext>
  </a:extLst>
</a:theme>
</file>

<file path=ppt/theme/theme2.xml><?xml version="1.0" encoding="utf-8"?>
<a:theme xmlns:a="http://schemas.openxmlformats.org/drawingml/2006/main" name="1_PresentationTemplate2021">
  <a:themeElements>
    <a:clrScheme name="Ericsson">
      <a:dk1>
        <a:srgbClr val="181818"/>
      </a:dk1>
      <a:lt1>
        <a:srgbClr val="FFFFFF"/>
      </a:lt1>
      <a:dk2>
        <a:srgbClr val="181818"/>
      </a:dk2>
      <a:lt2>
        <a:srgbClr val="E0E0E0"/>
      </a:lt2>
      <a:accent1>
        <a:srgbClr val="0082F0"/>
      </a:accent1>
      <a:accent2>
        <a:srgbClr val="0FC373"/>
      </a:accent2>
      <a:accent3>
        <a:srgbClr val="AF78D2"/>
      </a:accent3>
      <a:accent4>
        <a:srgbClr val="FAD22D"/>
      </a:accent4>
      <a:accent5>
        <a:srgbClr val="FF8C0A"/>
      </a:accent5>
      <a:accent6>
        <a:srgbClr val="FF3232"/>
      </a:accent6>
      <a:hlink>
        <a:srgbClr val="0082F0"/>
      </a:hlink>
      <a:folHlink>
        <a:srgbClr val="040969"/>
      </a:folHlink>
    </a:clrScheme>
    <a:fontScheme name="Ericsson">
      <a:majorFont>
        <a:latin typeface="Ericsson Hilda Light"/>
        <a:ea typeface=""/>
        <a:cs typeface=""/>
      </a:majorFont>
      <a:minorFont>
        <a:latin typeface="Ericsson Hild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<a:prstTxWarp prst="textNoShape">
          <a:avLst/>
        </a:prstTxWarp>
        <a:noAutofit/>
      </a:bodyPr>
      <a:lstStyle>
        <a:defPPr marL="180000" indent="-180000" algn="l">
          <a:spcBef>
            <a:spcPts val="800"/>
          </a:spcBef>
          <a:buFont typeface="Ericsson Hilda" panose="00000500000000000000" pitchFamily="2" charset="0"/>
          <a:buChar char="●"/>
          <a:defRPr dirty="0" err="1" smtClean="0">
            <a:solidFill>
              <a:srgbClr val="FFFFFF"/>
            </a:solidFill>
            <a:latin typeface="+mn-lt"/>
          </a:defRPr>
        </a:defPPr>
      </a:lstStyle>
    </a:spDef>
    <a:ln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vert="horz" wrap="square" lIns="72000" tIns="36000" rIns="0" bIns="0" numCol="1" anchor="t" anchorCtr="0" compatLnSpc="1">
        <a:prstTxWarp prst="textNoShape">
          <a:avLst/>
        </a:prstTxWarp>
        <a:noAutofit/>
      </a:bodyPr>
      <a:lstStyle>
        <a:defPPr algn="l">
          <a:defRPr sz="2000" spc="0" baseline="0" dirty="0" smtClean="0">
            <a:latin typeface="+mj-lt"/>
          </a:defRPr>
        </a:defPPr>
      </a:lstStyle>
    </a:txDef>
  </a:objectDefaults>
  <a:extraClrSchemeLst>
    <a:extraClrScheme>
      <a:clrScheme name="Landscape2009 1">
        <a:dk1>
          <a:srgbClr val="58585A"/>
        </a:dk1>
        <a:lt1>
          <a:srgbClr val="FFFFFF"/>
        </a:lt1>
        <a:dk2>
          <a:srgbClr val="00285E"/>
        </a:dk2>
        <a:lt2>
          <a:srgbClr val="B1B3B4"/>
        </a:lt2>
        <a:accent1>
          <a:srgbClr val="89BA17"/>
        </a:accent1>
        <a:accent2>
          <a:srgbClr val="F08A00"/>
        </a:accent2>
        <a:accent3>
          <a:srgbClr val="FFFFFF"/>
        </a:accent3>
        <a:accent4>
          <a:srgbClr val="4A4A4C"/>
        </a:accent4>
        <a:accent5>
          <a:srgbClr val="C4D9AB"/>
        </a:accent5>
        <a:accent6>
          <a:srgbClr val="D97D00"/>
        </a:accent6>
        <a:hlink>
          <a:srgbClr val="00A9D4"/>
        </a:hlink>
        <a:folHlink>
          <a:srgbClr val="0062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Primary Ericsson Blue 1">
      <a:srgbClr val="000082"/>
    </a:custClr>
    <a:custClr name="Primary Ericsson Blue 2">
      <a:srgbClr val="0050CA"/>
    </a:custClr>
    <a:custClr name="Primary Ericsson Blue">
      <a:srgbClr val="0082F0"/>
    </a:custClr>
    <a:custClr name="Primary Ericsson Blue 3">
      <a:srgbClr val="48A8FA"/>
    </a:custClr>
    <a:custClr name="Primary Ericsson Blue 4">
      <a:srgbClr val="85CCFF"/>
    </a:custClr>
    <a:custClr name="Secondary Ericsson Green">
      <a:srgbClr val="0FC373"/>
    </a:custClr>
    <a:custClr name="Secondary Ericsson Purple">
      <a:srgbClr val="AF78D2"/>
    </a:custClr>
    <a:custClr name="Secondary Ericsson Yellow">
      <a:srgbClr val="FAD22D"/>
    </a:custClr>
    <a:custClr name="Secondary Ericsson Orange">
      <a:srgbClr val="FF8C0A"/>
    </a:custClr>
    <a:custClr name="Secondary Ericsson Red">
      <a:srgbClr val="FF3232"/>
    </a:custClr>
    <a:custClr name="Secondary Ericsson Black">
      <a:srgbClr val="000000"/>
    </a:custClr>
    <a:custClr name="Secondary Ericsson Gray 1">
      <a:srgbClr val="242424"/>
    </a:custClr>
    <a:custClr name="Secondary Ericsson Gray 2">
      <a:srgbClr val="767676"/>
    </a:custClr>
    <a:custClr name="Secondary Ericsson Gray 3">
      <a:srgbClr val="A0A0A0"/>
    </a:custClr>
    <a:custClr name="Secondary Ericsson Gray 4">
      <a:srgbClr val="E0E0E0"/>
    </a:custClr>
    <a:custClr name="Secondary Ericsson Gray 5">
      <a:srgbClr val="F2F2F2"/>
    </a:custClr>
    <a:custClr name="Secondary Ericsson White">
      <a:srgbClr val="FFFFFF"/>
    </a:custClr>
  </a:custClrLst>
  <a:extLst>
    <a:ext uri="{05A4C25C-085E-4340-85A3-A5531E510DB2}">
      <thm15:themeFamily xmlns:thm15="http://schemas.microsoft.com/office/thememl/2012/main" name="PresentationTemplate2017.potx" id="{775AD81A-0AF6-45CB-889B-779F764C8091}" vid="{622262D2-9439-4A46-819E-379D679C138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Ericsson Hilda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Ericsson Hilda"/>
        <a:font script="Hebr" typeface="Ericsson Hilda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Ericsson Hilda"/>
        <a:font script="Uigh" typeface="Microsoft Uighur"/>
        <a:font script="Geor" typeface="Sylfaen"/>
        <a:font script="Armn" typeface="Ericsson Hilda Light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Ericsson Hilda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Ericsson Hilda Light"/>
        <a:font script="Hebr" typeface="Ericsson Hilda Light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Ericsson Hilda Light"/>
        <a:font script="Uigh" typeface="Microsoft Uighur"/>
        <a:font script="Geor" typeface="Sylfaen"/>
        <a:font script="Armn" typeface="Ericsson Hilda Light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Primary Ericsson Blue 1">
      <a:srgbClr val="000082"/>
    </a:custClr>
    <a:custClr name="Primary Ericsson Blue 2">
      <a:srgbClr val="0050CA"/>
    </a:custClr>
    <a:custClr name="Primary Ericsson Blue">
      <a:srgbClr val="0082F0"/>
    </a:custClr>
    <a:custClr name="Primary Ericsson Blue 3">
      <a:srgbClr val="48A8FA"/>
    </a:custClr>
    <a:custClr name="Primary Ericsson Blue 4">
      <a:srgbClr val="85CCFF"/>
    </a:custClr>
    <a:custClr name="Secondary Ericsson Green">
      <a:srgbClr val="0FC373"/>
    </a:custClr>
    <a:custClr name="Secondary Ericsson Purple">
      <a:srgbClr val="AF78D2"/>
    </a:custClr>
    <a:custClr name="Secondary Ericsson Yellow">
      <a:srgbClr val="FAD22D"/>
    </a:custClr>
    <a:custClr name="Secondary Ericsson Orange">
      <a:srgbClr val="FF8C0A"/>
    </a:custClr>
    <a:custClr name="Secondary Ericsson Red">
      <a:srgbClr val="FF3232"/>
    </a:custClr>
    <a:custClr name="Secondary Ericsson Black">
      <a:srgbClr val="000000"/>
    </a:custClr>
    <a:custClr name="Secondary Ericsson Gray 1">
      <a:srgbClr val="242424"/>
    </a:custClr>
    <a:custClr name="Secondary Ericsson Gray 2">
      <a:srgbClr val="767676"/>
    </a:custClr>
    <a:custClr name="Secondary Ericsson Gray 3">
      <a:srgbClr val="A0A0A0"/>
    </a:custClr>
    <a:custClr name="Secondary Ericsson Gray 4">
      <a:srgbClr val="E0E0E0"/>
    </a:custClr>
    <a:custClr name="Secondary Ericsson Gray 5">
      <a:srgbClr val="F2F2F2"/>
    </a:custClr>
    <a:custClr name="Secondary Ericsson 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Ericsson Hilda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Ericsson Hilda"/>
        <a:font script="Hebr" typeface="Ericsson Hilda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Ericsson Hilda"/>
        <a:font script="Uigh" typeface="Microsoft Uighur"/>
        <a:font script="Geor" typeface="Sylfaen"/>
        <a:font script="Armn" typeface="Ericsson Hilda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Ericsson Hilda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Ericsson Hilda"/>
        <a:font script="Hebr" typeface="Ericsson Hilda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Ericsson Hilda"/>
        <a:font script="Uigh" typeface="Microsoft Uighur"/>
        <a:font script="Geor" typeface="Sylfaen"/>
        <a:font script="Armn" typeface="Ericsson Hilda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Primary Ericsson Blue 1">
      <a:srgbClr val="000082"/>
    </a:custClr>
    <a:custClr name="Primary Ericsson Blue 2">
      <a:srgbClr val="0050CA"/>
    </a:custClr>
    <a:custClr name="Primary Ericsson Blue">
      <a:srgbClr val="0082F0"/>
    </a:custClr>
    <a:custClr name="Primary Ericsson Blue 3">
      <a:srgbClr val="48A8FA"/>
    </a:custClr>
    <a:custClr name="Primary Ericsson Blue 4">
      <a:srgbClr val="85CCFF"/>
    </a:custClr>
    <a:custClr name="Secondary Ericsson Green">
      <a:srgbClr val="0FC373"/>
    </a:custClr>
    <a:custClr name="Secondary Ericsson Purple">
      <a:srgbClr val="AF78D2"/>
    </a:custClr>
    <a:custClr name="Secondary Ericsson Yellow">
      <a:srgbClr val="FAD22D"/>
    </a:custClr>
    <a:custClr name="Secondary Ericsson Orange">
      <a:srgbClr val="FF8C0A"/>
    </a:custClr>
    <a:custClr name="Secondary Ericsson Red">
      <a:srgbClr val="FF3232"/>
    </a:custClr>
    <a:custClr name="Secondary Ericsson Black">
      <a:srgbClr val="000000"/>
    </a:custClr>
    <a:custClr name="Secondary Ericsson Gray 1">
      <a:srgbClr val="242424"/>
    </a:custClr>
    <a:custClr name="Secondary Ericsson Gray 2">
      <a:srgbClr val="767676"/>
    </a:custClr>
    <a:custClr name="Secondary Ericsson Gray 3">
      <a:srgbClr val="A0A0A0"/>
    </a:custClr>
    <a:custClr name="Secondary Ericsson Gray 4">
      <a:srgbClr val="E0E0E0"/>
    </a:custClr>
    <a:custClr name="Secondary Ericsson Gray 5">
      <a:srgbClr val="F2F2F2"/>
    </a:custClr>
    <a:custClr name="Secondary Ericsson 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TemplafyTemplateConfiguration><![CDATA[{"elementsMetadata":[],"transformationConfigurations":[{"language":"{{DocumentLanguage}}","disableUpdates":false,"type":"proofingLanguage"},{"propertyName":"FooterText","propertyValue":"true","disableUpdates":false,"type":"customDocumentProperty"},{"propertyName":"SecurityClass","propertyValue":"{{Form.ConfidentialityClass.Confidentiality}}","disableUpdates":false,"type":"customDocumentProperty"},{"propertyName":"ExtConf","propertyValue":"{{Form.ExternalConfidentialityLabel.ExternalConfidentiality}}","disableUpdates":false,"type":"customDocumentProperty"},{"propertyName":"Prepared","propertyValue":"{{Form.Prepared}}","disableUpdates":false,"type":"customDocumentProperty"},{"propertyName":"ApprovedBy","propertyValue":"{{Form.ApprovedBy}}","disableUpdates":false,"type":"customDocumentProperty"},{"propertyName":"DocNo","propertyValue":"{{Form.DocumentNumber}} {{Form.LanguageCode.LanguageCode}}","disableUpdates":false,"type":"customDocumentProperty"},{"propertyName":"Checked","propertyValue":"{{Form.Checked}}","disableUpdates":false,"type":"customDocumentProperty"},{"propertyName":"Date","propertyValue":"{{Form.Date}}","disableUpdates":false,"type":"customDocumentProperty"},{"propertyName":"Reference","propertyValue":"{{Form.Reference}}","disableUpdates":false,"type":"customDocumentProperty"},{"propertyName":"Title","propertyValue":"{{Form.DocumentTitle}}","disableUpdates":false,"type":"customDocumentProperty"},{"propertyName":"Keyword","propertyValue":"{{Form.Keywords}}","disableUpdates":false,"type":"customDocumentProperty"},{"propertyName":"DocumentType","propertyValue":"Presentation2011","disableUpdates":false,"type":"customDocumentProperty"},{"propertyName":"Language","propertyValue":"EnglishUS","disableUpdates":false,"type":"customDocumentProperty"},{"propertyName":"TemplateID","propertyValue":"FALSE","disableUpdates":false,"type":"customDocumentProperty"},{"propertyName":"ConfCtrl","propertyValue":"FALSE","disableUpdates":false,"type":"customDocumentProperty"},{"propertyName":"title","propertyValue":"{{Form.DocumentTitle}}","disableUpdates":false,"type":"documentProperty"},{"propertyName":"keywords","propertyValue":"{{Form.Keywords}}","disableUpdates":false,"type":"documentProperty"},{"propertyName":"creator","propertyValue":"{{Form.Prepared}}","disableUpdates":false,"type":"documentProperty"},{"propertyName":"DocTitle","propertyValue":"{{Form.DocTitle.DocTitle}}","disableUpdates":false,"type":"customDocumentProperty"},{"propertyName":"IsDocument","propertyValue":"{{Form.TemplateType.IsDocument}}","disableUpdates":false,"type":"customDocumentProperty"},{"propertyName":"IsPresentation","propertyValue":"{{Form.TemplateType.IsPresentation}}","disableUpdates":false,"type":"customDocumentProperty"},{"propertyName":"company","propertyValue":"Ericsson","disableUpdates":false,"type":"documentProperty"},{"propertyName":"PageNumberVisible","propertyValue":"{{Form.TotalPageNo.TotalPageNo_value}}","disableUpdates":false,"type":"customDocumentProperty"},{"propertyName":"Revision","propertyValue":"{{Form.Revision}}","disableUpdates":false,"type":"customDocumentProperty"},{"propertyName":"DocType","propertyValue":"{{Form.DocTypePresentation}}","disableUpdates":false,"type":"customDocumentProperty"},{"propertyName":"TemplateVersion","propertyValue":"R2A","disableUpdates":false,"type":"customDocumentProperty"},{"propertyName":"PackageNo","propertyValue":"LXA 119 603","disableUpdates":false,"type":"customDocumentProperty"},{"propertyName":"PackageVersion","propertyValue":"R6B","disableUpdates":false,"type":"customDocumentProperty"},{"propertyName":"TemplateName","propertyValue":"CXC 173 2731/1","disableUpdates":false,"type":"customDocumentProperty"},{"propertyName":"DocName","propertyValue":" ","disableUpdates":false,"type":"customDocumentProperty"},{"propertyName":"description","propertyValue":"{{Form.DocumentNumber}} {{Form.LanguageCode.LanguageCode}}\nRev {{Form.Revision}}","disableUpdates":false,"type":"documentProperty"}],"templateName":"","templateDescription":"","enableDocumentContentUpdater":true,"version":"1.9"}]]></TemplafyTemplateConfiguration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TemplafyFormConfiguration><![CDATA[{"formFields":[{"required":true,"placeholder":"","lines":0,"helpTexts":{"prefix":"","postfix":""},"spacing":{},"type":"textBox","name":"DocumentTitle","label":"Document Title","fullyQualifiedName":"DocumentTitle"},{"dataSource":"Confidentiality","displayColumn":"confidentiality","hideIfNoUserInteractionRequired":false,"distinct":true,"required":true,"autoSelectFirstOption":false,"helpTexts":{"prefix":"","postfix":""},"spacing":{},"type":"dropDown","name":"ConfidentialityClass","label":"Confidentiality Class","fullyQualifiedName":"ConfidentialityClass"},{"dataSource":"External Confidentiality label","displayColumn":"externalConfidentiality","hideIfNoUserInteractionRequired":false,"distinct":true,"required":false,"autoSelectFirstOption":false,"helpTexts":{"prefix":"","postfix":"If no external confidentiality class then please choose the blank value"},"spacing":{},"type":"dropDown","name":"ExternalConfidentialityLabel","label":"External Confidentiality label","fullyQualifiedName":"ExternalConfidentialityLabel"},{"column":"documentType","required":true,"placeholder":"","autoSelectFirstOption":false,"helpTexts":{"prefix":"","postfix":""},"spacing":{},"dataSource":"PowerPoint Document Type","type":"comboBox","name":"DocTypePresentation","label":"Document Type","fullyQualifiedName":"DocTypePresentation"},{"required":false,"placeholder":"","lines":0,"helpTexts":{"prefix":"","postfix":""},"spacing":{},"type":"textBox","name":"DocumentNumber","label":"Document Number","fullyQualifiedName":"DocumentNumber"},{"dataSource":"Language code","displayColumn":"showName","defaultValue":"1","hideIfNoUserInteractionRequired":false,"distinct":true,"required":false,"autoSelectFirstOption":false,"helpTexts":{"prefix":"","postfix":"The language code will be appended to the Document No."},"spacing":{},"type":"dropDown","name":"LanguageCode","label":"Language Code","fullyQualifiedName":"LanguageCode"},{"column":"revision","required":false,"placeholder":"","autoSelectFirstOption":false,"helpTexts":{"prefix":"","postfix":""},"spacing":{},"dataSource":"Revision","type":"comboBox","name":"Revision","label":"Revision","fullyQualifiedName":"Revision"},{"required":false,"helpTexts":{"prefix":"","postfix":""},"spacing":{},"type":"datePicker","name":"Date","label":"Date","fullyQualifiedName":"Date"},{"helpTexts":{"prefix":"","postfix":""},"spacing":{},"type":"heading","name":"FooterVisibilityOptions","label":"Footer Visibility Options","fullyQualifiedName":"FooterVisibilityOptions"},{"dataSource":"PPT FooterVisibility","displayColumn":"templateType","defaultValue":"1","hideIfNoUserInteractionRequired":false,"distinct":true,"required":true,"autoSelectFirstOption":false,"helpTexts":{"prefix":"","postfix":""},"spacing":{},"type":"dropDown","name":"TemplateType","label":"Is this a document or presentation?","fullyQualifiedName":"TemplateType"},{"dataSource":"PPT FooterVisibility","displayColumn":"docTitle_label","filter":{"column":"templateType","otherFieldName":"TemplateType","fullyQualifiedOtherFieldName":"TemplateType","otherFieldColumn":"TemplateType","formReference":"none","operator":"equals"},"hideIfNoUserInteractionRequired":false,"distinct":true,"required":false,"autoSelectFirstOption":true,"helpTexts":{"prefix":"","postfix":""},"spacing":{},"type":"dropDown","name":"DocTitle","label":"Show document title in footer?","fullyQualifiedName":"DocTitle"},{"dataSource":"PPT FooterVisibility","displayColumn":"totalPageNo_text","filter":{"column":"templateType","otherFieldName":"TemplateType","fullyQualifiedOtherFieldName":"TemplateType","otherFieldColumn":"TemplateType","formReference":"none","operator":"equals"},"hideIfNoUserInteractionRequired":false,"distinct":true,"required":false,"autoSelectFirstOption":true,"helpTexts":{"prefix":"","postfix":""},"spacing":{},"type":"dropDown","name":"TotalPageNo","label":"Page numbering","fullyQualifiedName":"TotalPageNo"},{"required":false,"placeholder":"","lines":0,"defaultValue":"{{UserProfile.Prepared}}","helpTexts":{"prefix":"","postfix":""},"spacing":{},"type":"textBox","name":"Prepared","label":"Prepared By (Subject Responsible)","fullyQualifiedName":"Prepared"},{"required":false,"placeholder":"","lines":0,"helpTexts":{"prefix":"","postfix":""},"spacing":{},"type":"textBox","name":"ApprovedBy","label":"Approved By (Document Responsible)","fullyQualifiedName":"ApprovedBy"},{"required":false,"placeholder":"","lines":0,"helpTexts":{"prefix":"","postfix":""},"spacing":{},"type":"textBox","name":"Checked","label":"Checked","fullyQualifiedName":"Checked"},{"required":false,"placeholder":"","lines":0,"helpTexts":{"prefix":"","postfix":""},"spacing":{},"type":"textBox","name":"Reference","label":"Reference","fullyQualifiedName":"Reference"},{"required":false,"placeholder":"","lines":0,"helpTexts":{"prefix":"","postfix":""},"spacing":{},"type":"textBox","name":"Keywords","label":"Keywords","fullyQualifiedName":"Keywords"}],"formDataEntries":[{"name":"DocumentTitle","value":"6idLPZR/4wA/6Ns6gk1JjR2gc6XvTsjN/GzuspQHQow="},{"name":"ConfidentialityClass","value":"PxVEvJY8nE7m/hY9622Sng=="},{"name":"DocTypePresentation","value":"hYG1RS7sIFPr/C38jROUyWG/rXM13Rc2vpxtC7gPc+Y="},{"name":"LanguageCode","value":"5wlu7ZdPxHQj1W0w+yTNSg=="},{"name":"Revision","value":"pNU4V0/pGV5ylCSfL688bA=="},{"name":"Date","value":"oc3+FmRqxMN6L+lvqZdVVw=="},{"name":"TemplateType","value":"5wlu7ZdPxHQj1W0w+yTNSg=="},{"name":"DocTitle","value":"cT/FOwTWaPknrhRlNMh4SQ=="},{"name":"TotalPageNo","value":"5wlu7ZdPxHQj1W0w+yTNSg=="},{"name":"Prepared","value":"H9UB1XfJr/ncRyLSS3sP1ClzTx9fSRFsDPWYUtuTWR8="}]}]]></TemplafyFormConfiguration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28AEA22BC61E048A9038B00CABBED97" ma:contentTypeVersion="4" ma:contentTypeDescription="Create a new document." ma:contentTypeScope="" ma:versionID="d757c565b41935149aec2dcf5cfc9ab4">
  <xsd:schema xmlns:xsd="http://www.w3.org/2001/XMLSchema" xmlns:xs="http://www.w3.org/2001/XMLSchema" xmlns:p="http://schemas.microsoft.com/office/2006/metadata/properties" xmlns:ns2="5a9d8e54-2b21-4b75-b1f5-1a436dc4e136" targetNamespace="http://schemas.microsoft.com/office/2006/metadata/properties" ma:root="true" ma:fieldsID="55efe364df8fbb3f561433a53533b381" ns2:_="">
    <xsd:import namespace="5a9d8e54-2b21-4b75-b1f5-1a436dc4e13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9d8e54-2b21-4b75-b1f5-1a436dc4e13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.xml><?xml version="1.0" encoding="utf-8"?>
<TemplafySlideTemplateConfiguration><![CDATA[{"elementsMetadata":[],"documentContentValidatorConfiguration":{"enableDocumentContentValidator":false,"documentContentValidatorVersion":0},"slideId":"637027476704980324","enableDocumentContentUpdater":true,"version":"1.9"}]]></TemplafySlideTemplateConfiguration>
</file>

<file path=customXml/item7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56F2EE69-0CCA-4F48-BE22-EC4A886C57A7}">
  <ds:schemaRefs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purl.org/dc/terms/"/>
    <ds:schemaRef ds:uri="a6550eff-0fc9-443f-8e77-72cbcf778382"/>
    <ds:schemaRef ds:uri="92e1255f-bb7b-4dc9-b051-584cc104eb44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7958A4E-FAB1-42E4-B6B5-29B01F63F87B}">
  <ds:schemaRefs/>
</ds:datastoreItem>
</file>

<file path=customXml/itemProps3.xml><?xml version="1.0" encoding="utf-8"?>
<ds:datastoreItem xmlns:ds="http://schemas.openxmlformats.org/officeDocument/2006/customXml" ds:itemID="{F5A7E41D-6E7F-4B05-AFAB-F540BD4C068B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D92C3DF5-A179-4E2D-BD20-07044B39171F}">
  <ds:schemaRefs/>
</ds:datastoreItem>
</file>

<file path=customXml/itemProps5.xml><?xml version="1.0" encoding="utf-8"?>
<ds:datastoreItem xmlns:ds="http://schemas.openxmlformats.org/officeDocument/2006/customXml" ds:itemID="{0C8F50F8-E268-4DB5-BE61-6113176C7FE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a9d8e54-2b21-4b75-b1f5-1a436dc4e13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6.xml><?xml version="1.0" encoding="utf-8"?>
<ds:datastoreItem xmlns:ds="http://schemas.openxmlformats.org/officeDocument/2006/customXml" ds:itemID="{C09F197C-6A49-47D0-B877-F88807989676}">
  <ds:schemaRefs/>
</ds:datastoreItem>
</file>

<file path=customXml/itemProps7.xml><?xml version="1.0" encoding="utf-8"?>
<ds:datastoreItem xmlns:ds="http://schemas.openxmlformats.org/officeDocument/2006/customXml" ds:itemID="{B9AEDDE3-EA02-4A8F-B8F8-0606A0AA45FC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M16401371[[fn=Atlas]]</Template>
  <TotalTime>2094</TotalTime>
  <Words>407</Words>
  <Application>Microsoft Office PowerPoint</Application>
  <PresentationFormat>Widescreen</PresentationFormat>
  <Paragraphs>95</Paragraphs>
  <Slides>2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3" baseType="lpstr">
      <vt:lpstr>Ericsson Hilda ExtraBold</vt:lpstr>
      <vt:lpstr>EucrosiaUPC</vt:lpstr>
      <vt:lpstr>Arial</vt:lpstr>
      <vt:lpstr>Ericsson Technical Icons</vt:lpstr>
      <vt:lpstr>Ericsson Hilda Light</vt:lpstr>
      <vt:lpstr>Ericsson Hilda ExtraLight</vt:lpstr>
      <vt:lpstr>Ericsson Hilda (Body)</vt:lpstr>
      <vt:lpstr>Lato Light</vt:lpstr>
      <vt:lpstr>Ericsson Hilda</vt:lpstr>
      <vt:lpstr>PresentationTemplate2021</vt:lpstr>
      <vt:lpstr>1_PresentationTemplate2021</vt:lpstr>
      <vt:lpstr>think-cell Slide</vt:lpstr>
      <vt:lpstr>Bayesian Neural Networks</vt:lpstr>
      <vt:lpstr>Who we are</vt:lpstr>
      <vt:lpstr>Classical Neural Networks</vt:lpstr>
      <vt:lpstr>NN vs BNN</vt:lpstr>
      <vt:lpstr>PowerPoint Presentation</vt:lpstr>
      <vt:lpstr>How to ensure the shape of the distributions?</vt:lpstr>
      <vt:lpstr>Reparameterization trick</vt:lpstr>
      <vt:lpstr>Reparameterization trick</vt:lpstr>
      <vt:lpstr>Train process</vt:lpstr>
      <vt:lpstr>MC Dropout</vt:lpstr>
      <vt:lpstr>GaussianDistribution class</vt:lpstr>
      <vt:lpstr>Bayesian Linear Layer</vt:lpstr>
      <vt:lpstr>Message Passing</vt:lpstr>
      <vt:lpstr>Graph Neural Networks + BNNs</vt:lpstr>
      <vt:lpstr>How to optimize a cellular network </vt:lpstr>
      <vt:lpstr>Uplink Interference</vt:lpstr>
      <vt:lpstr>PowerPoint Presentation</vt:lpstr>
      <vt:lpstr>PowerPoint Presentation</vt:lpstr>
      <vt:lpstr>Real Production Results</vt:lpstr>
      <vt:lpstr>References</vt:lpstr>
      <vt:lpstr>PowerPoint Presentation</vt:lpstr>
    </vt:vector>
  </TitlesOfParts>
  <Company>Ericss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NS AI Differentiators</dc:title>
  <dc:creator>EPHILFR Philipp Frank</dc:creator>
  <cp:keywords/>
  <dc:description>Rev A</dc:description>
  <cp:lastModifiedBy>Oscar Llorente Gonzalez</cp:lastModifiedBy>
  <cp:revision>79</cp:revision>
  <dcterms:created xsi:type="dcterms:W3CDTF">2019-04-23T15:12:54Z</dcterms:created>
  <dcterms:modified xsi:type="dcterms:W3CDTF">2025-09-18T10:05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BCategory">
    <vt:lpwstr> </vt:lpwstr>
  </property>
  <property fmtid="{D5CDD505-2E9C-101B-9397-08002B2CF9AE}" pid="3" name="TemplateIdentity">
    <vt:lpwstr> </vt:lpwstr>
  </property>
  <property fmtid="{D5CDD505-2E9C-101B-9397-08002B2CF9AE}" pid="4" name="DocName">
    <vt:lpwstr> </vt:lpwstr>
  </property>
  <property fmtid="{D5CDD505-2E9C-101B-9397-08002B2CF9AE}" pid="5" name="ContentTypeId">
    <vt:lpwstr>0x010100A28AEA22BC61E048A9038B00CABBED97</vt:lpwstr>
  </property>
  <property fmtid="{D5CDD505-2E9C-101B-9397-08002B2CF9AE}" pid="6" name="DocumentDataTemplate">
    <vt:lpwstr>true</vt:lpwstr>
  </property>
  <property fmtid="{D5CDD505-2E9C-101B-9397-08002B2CF9AE}" pid="7" name="BSubject">
    <vt:lpwstr> </vt:lpwstr>
  </property>
  <property fmtid="{D5CDD505-2E9C-101B-9397-08002B2CF9AE}" pid="8" name="TemplafyTimeStamp">
    <vt:lpwstr>2021-09-22T11:18:46.6132967Z</vt:lpwstr>
  </property>
  <property fmtid="{D5CDD505-2E9C-101B-9397-08002B2CF9AE}" pid="9" name="TemplafyTenantId">
    <vt:lpwstr>ericsson</vt:lpwstr>
  </property>
  <property fmtid="{D5CDD505-2E9C-101B-9397-08002B2CF9AE}" pid="10" name="TemplafyTemplateId">
    <vt:lpwstr>637661677935531027</vt:lpwstr>
  </property>
  <property fmtid="{D5CDD505-2E9C-101B-9397-08002B2CF9AE}" pid="11" name="TemplafyUserProfileId">
    <vt:lpwstr>637104614779859205</vt:lpwstr>
  </property>
  <property fmtid="{D5CDD505-2E9C-101B-9397-08002B2CF9AE}" pid="12" name="TemplafyLanguageCode">
    <vt:lpwstr>en-US</vt:lpwstr>
  </property>
  <property fmtid="{D5CDD505-2E9C-101B-9397-08002B2CF9AE}" pid="13" name="FooterText">
    <vt:lpwstr>true</vt:lpwstr>
  </property>
  <property fmtid="{D5CDD505-2E9C-101B-9397-08002B2CF9AE}" pid="14" name="SecurityClass">
    <vt:lpwstr>Ericsson Confidential</vt:lpwstr>
  </property>
  <property fmtid="{D5CDD505-2E9C-101B-9397-08002B2CF9AE}" pid="15" name="ExtConf">
    <vt:lpwstr/>
  </property>
  <property fmtid="{D5CDD505-2E9C-101B-9397-08002B2CF9AE}" pid="16" name="Prepared">
    <vt:lpwstr>EPHILFR Philipp Frank</vt:lpwstr>
  </property>
  <property fmtid="{D5CDD505-2E9C-101B-9397-08002B2CF9AE}" pid="17" name="ApprovedBy">
    <vt:lpwstr/>
  </property>
  <property fmtid="{D5CDD505-2E9C-101B-9397-08002B2CF9AE}" pid="18" name="DocNo">
    <vt:lpwstr> </vt:lpwstr>
  </property>
  <property fmtid="{D5CDD505-2E9C-101B-9397-08002B2CF9AE}" pid="19" name="Checked">
    <vt:lpwstr/>
  </property>
  <property fmtid="{D5CDD505-2E9C-101B-9397-08002B2CF9AE}" pid="20" name="Date">
    <vt:lpwstr>2023-09-08</vt:lpwstr>
  </property>
  <property fmtid="{D5CDD505-2E9C-101B-9397-08002B2CF9AE}" pid="21" name="Reference">
    <vt:lpwstr/>
  </property>
  <property fmtid="{D5CDD505-2E9C-101B-9397-08002B2CF9AE}" pid="22" name="Title">
    <vt:lpwstr>CNS AI Differentiators</vt:lpwstr>
  </property>
  <property fmtid="{D5CDD505-2E9C-101B-9397-08002B2CF9AE}" pid="23" name="Keyword">
    <vt:lpwstr/>
  </property>
  <property fmtid="{D5CDD505-2E9C-101B-9397-08002B2CF9AE}" pid="24" name="DocumentType">
    <vt:lpwstr>Presentation2011</vt:lpwstr>
  </property>
  <property fmtid="{D5CDD505-2E9C-101B-9397-08002B2CF9AE}" pid="25" name="Language">
    <vt:lpwstr>EnglishUS</vt:lpwstr>
  </property>
  <property fmtid="{D5CDD505-2E9C-101B-9397-08002B2CF9AE}" pid="26" name="TemplateID">
    <vt:lpwstr>FALSE</vt:lpwstr>
  </property>
  <property fmtid="{D5CDD505-2E9C-101B-9397-08002B2CF9AE}" pid="27" name="ConfCtrl">
    <vt:lpwstr>FALSE</vt:lpwstr>
  </property>
  <property fmtid="{D5CDD505-2E9C-101B-9397-08002B2CF9AE}" pid="28" name="DocTitle">
    <vt:lpwstr>true</vt:lpwstr>
  </property>
  <property fmtid="{D5CDD505-2E9C-101B-9397-08002B2CF9AE}" pid="29" name="IsDocument">
    <vt:lpwstr>true</vt:lpwstr>
  </property>
  <property fmtid="{D5CDD505-2E9C-101B-9397-08002B2CF9AE}" pid="30" name="IsPresentation">
    <vt:lpwstr>false</vt:lpwstr>
  </property>
  <property fmtid="{D5CDD505-2E9C-101B-9397-08002B2CF9AE}" pid="31" name="PageNumberVisible">
    <vt:lpwstr>PageXY</vt:lpwstr>
  </property>
  <property fmtid="{D5CDD505-2E9C-101B-9397-08002B2CF9AE}" pid="32" name="Revision">
    <vt:lpwstr>A</vt:lpwstr>
  </property>
  <property fmtid="{D5CDD505-2E9C-101B-9397-08002B2CF9AE}" pid="33" name="DocType">
    <vt:lpwstr>Solution Description</vt:lpwstr>
  </property>
  <property fmtid="{D5CDD505-2E9C-101B-9397-08002B2CF9AE}" pid="34" name="TemplateVersion">
    <vt:lpwstr>R2A</vt:lpwstr>
  </property>
  <property fmtid="{D5CDD505-2E9C-101B-9397-08002B2CF9AE}" pid="35" name="PackageNo">
    <vt:lpwstr>LXA 119 603</vt:lpwstr>
  </property>
  <property fmtid="{D5CDD505-2E9C-101B-9397-08002B2CF9AE}" pid="36" name="PackageVersion">
    <vt:lpwstr>R6B</vt:lpwstr>
  </property>
  <property fmtid="{D5CDD505-2E9C-101B-9397-08002B2CF9AE}" pid="37" name="TemplateName">
    <vt:lpwstr>CXC 173 2731/1</vt:lpwstr>
  </property>
</Properties>
</file>